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4"/>
  </p:sldMasterIdLst>
  <p:notesMasterIdLst>
    <p:notesMasterId r:id="rId6"/>
  </p:notesMasterIdLst>
  <p:handoutMasterIdLst>
    <p:handoutMasterId r:id="rId7"/>
  </p:handoutMasterIdLst>
  <p:sldIdLst>
    <p:sldId id="2147309574" r:id="rId5"/>
  </p:sldIdLst>
  <p:sldSz cx="12192000" cy="6858000"/>
  <p:notesSz cx="7104063" cy="10234613"/>
  <p:custDataLst>
    <p:tags r:id="rId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744" kern="1200">
        <a:solidFill>
          <a:schemeClr val="tx1"/>
        </a:solidFill>
        <a:latin typeface="Arial" charset="0"/>
        <a:ea typeface="+mn-ea"/>
        <a:cs typeface="+mn-cs"/>
      </a:defRPr>
    </a:lvl1pPr>
    <a:lvl2pPr marL="588646" algn="l" rtl="0" fontAlgn="base">
      <a:spcBef>
        <a:spcPct val="0"/>
      </a:spcBef>
      <a:spcAft>
        <a:spcPct val="0"/>
      </a:spcAft>
      <a:defRPr sz="1744" kern="1200">
        <a:solidFill>
          <a:schemeClr val="tx1"/>
        </a:solidFill>
        <a:latin typeface="Arial" charset="0"/>
        <a:ea typeface="+mn-ea"/>
        <a:cs typeface="+mn-cs"/>
      </a:defRPr>
    </a:lvl2pPr>
    <a:lvl3pPr marL="1177296" algn="l" rtl="0" fontAlgn="base">
      <a:spcBef>
        <a:spcPct val="0"/>
      </a:spcBef>
      <a:spcAft>
        <a:spcPct val="0"/>
      </a:spcAft>
      <a:defRPr sz="1744" kern="1200">
        <a:solidFill>
          <a:schemeClr val="tx1"/>
        </a:solidFill>
        <a:latin typeface="Arial" charset="0"/>
        <a:ea typeface="+mn-ea"/>
        <a:cs typeface="+mn-cs"/>
      </a:defRPr>
    </a:lvl3pPr>
    <a:lvl4pPr marL="1765943" algn="l" rtl="0" fontAlgn="base">
      <a:spcBef>
        <a:spcPct val="0"/>
      </a:spcBef>
      <a:spcAft>
        <a:spcPct val="0"/>
      </a:spcAft>
      <a:defRPr sz="1744" kern="1200">
        <a:solidFill>
          <a:schemeClr val="tx1"/>
        </a:solidFill>
        <a:latin typeface="Arial" charset="0"/>
        <a:ea typeface="+mn-ea"/>
        <a:cs typeface="+mn-cs"/>
      </a:defRPr>
    </a:lvl4pPr>
    <a:lvl5pPr marL="2354589" algn="l" rtl="0" fontAlgn="base">
      <a:spcBef>
        <a:spcPct val="0"/>
      </a:spcBef>
      <a:spcAft>
        <a:spcPct val="0"/>
      </a:spcAft>
      <a:defRPr sz="1744" kern="1200">
        <a:solidFill>
          <a:schemeClr val="tx1"/>
        </a:solidFill>
        <a:latin typeface="Arial" charset="0"/>
        <a:ea typeface="+mn-ea"/>
        <a:cs typeface="+mn-cs"/>
      </a:defRPr>
    </a:lvl5pPr>
    <a:lvl6pPr marL="2943238" algn="l" defTabSz="1177296" rtl="0" eaLnBrk="1" latinLnBrk="0" hangingPunct="1">
      <a:defRPr sz="1744" kern="1200">
        <a:solidFill>
          <a:schemeClr val="tx1"/>
        </a:solidFill>
        <a:latin typeface="Arial" charset="0"/>
        <a:ea typeface="+mn-ea"/>
        <a:cs typeface="+mn-cs"/>
      </a:defRPr>
    </a:lvl6pPr>
    <a:lvl7pPr marL="3531885" algn="l" defTabSz="1177296" rtl="0" eaLnBrk="1" latinLnBrk="0" hangingPunct="1">
      <a:defRPr sz="1744" kern="1200">
        <a:solidFill>
          <a:schemeClr val="tx1"/>
        </a:solidFill>
        <a:latin typeface="Arial" charset="0"/>
        <a:ea typeface="+mn-ea"/>
        <a:cs typeface="+mn-cs"/>
      </a:defRPr>
    </a:lvl7pPr>
    <a:lvl8pPr marL="4120535" algn="l" defTabSz="1177296" rtl="0" eaLnBrk="1" latinLnBrk="0" hangingPunct="1">
      <a:defRPr sz="1744" kern="1200">
        <a:solidFill>
          <a:schemeClr val="tx1"/>
        </a:solidFill>
        <a:latin typeface="Arial" charset="0"/>
        <a:ea typeface="+mn-ea"/>
        <a:cs typeface="+mn-cs"/>
      </a:defRPr>
    </a:lvl8pPr>
    <a:lvl9pPr marL="4709181" algn="l" defTabSz="1177296" rtl="0" eaLnBrk="1" latinLnBrk="0" hangingPunct="1">
      <a:defRPr sz="1744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7" userDrawn="1">
          <p15:clr>
            <a:srgbClr val="A4A3A4"/>
          </p15:clr>
        </p15:guide>
        <p15:guide id="2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llmanns, Wiebke" initials="TW" lastIdx="10" clrIdx="0">
    <p:extLst>
      <p:ext uri="{19B8F6BF-5375-455C-9EA6-DF929625EA0E}">
        <p15:presenceInfo xmlns:p15="http://schemas.microsoft.com/office/powerpoint/2012/main" userId="S-1-5-21-808196355-1209229586-1691616715-13225" providerId="AD"/>
      </p:ext>
    </p:extLst>
  </p:cmAuthor>
  <p:cmAuthor id="2" name="M7311006@miebach.com" initials="M" lastIdx="13" clrIdx="1">
    <p:extLst>
      <p:ext uri="{19B8F6BF-5375-455C-9EA6-DF929625EA0E}">
        <p15:presenceInfo xmlns:p15="http://schemas.microsoft.com/office/powerpoint/2012/main" userId="M7311006@miebach.com" providerId="None"/>
      </p:ext>
    </p:extLst>
  </p:cmAuthor>
  <p:cmAuthor id="3" name="Anna Serrat" initials="AS" lastIdx="41" clrIdx="2">
    <p:extLst>
      <p:ext uri="{19B8F6BF-5375-455C-9EA6-DF929625EA0E}">
        <p15:presenceInfo xmlns:p15="http://schemas.microsoft.com/office/powerpoint/2012/main" userId="S::serrat@miebachservicios.onmicrosoft.com::0e7c582b-de13-4ae0-b03a-7d42ad266b75" providerId="AD"/>
      </p:ext>
    </p:extLst>
  </p:cmAuthor>
  <p:cmAuthor id="4" name="Hoffmann, Ralf" initials="HR" lastIdx="38" clrIdx="3">
    <p:extLst>
      <p:ext uri="{19B8F6BF-5375-455C-9EA6-DF929625EA0E}">
        <p15:presenceInfo xmlns:p15="http://schemas.microsoft.com/office/powerpoint/2012/main" userId="S-1-5-21-808196355-1209229586-1691616715-14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D19D72-4C6B-4C9E-88F5-96F1891C05B6}" v="6" dt="2024-01-29T16:22:24.0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78076" autoAdjust="0"/>
  </p:normalViewPr>
  <p:slideViewPr>
    <p:cSldViewPr showGuides="1">
      <p:cViewPr varScale="1">
        <p:scale>
          <a:sx n="107" d="100"/>
          <a:sy n="107" d="100"/>
        </p:scale>
        <p:origin x="114" y="324"/>
      </p:cViewPr>
      <p:guideLst>
        <p:guide pos="257"/>
        <p:guide orient="horz" pos="981"/>
      </p:guideLst>
    </p:cSldViewPr>
  </p:slideViewPr>
  <p:outlineViewPr>
    <p:cViewPr>
      <p:scale>
        <a:sx n="33" d="100"/>
        <a:sy n="33" d="100"/>
      </p:scale>
      <p:origin x="0" y="-4758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howGuides="1">
      <p:cViewPr>
        <p:scale>
          <a:sx n="50" d="100"/>
          <a:sy n="50" d="100"/>
        </p:scale>
        <p:origin x="3654" y="7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Daheng" userId="ca65f3f3-c4d6-4cea-8256-7b11f36bb87a" providerId="ADAL" clId="{80D19D72-4C6B-4C9E-88F5-96F1891C05B6}"/>
    <pc:docChg chg="undo custSel modSld">
      <pc:chgData name="Liu, Daheng" userId="ca65f3f3-c4d6-4cea-8256-7b11f36bb87a" providerId="ADAL" clId="{80D19D72-4C6B-4C9E-88F5-96F1891C05B6}" dt="2024-01-29T17:29:42.838" v="1301" actId="948"/>
      <pc:docMkLst>
        <pc:docMk/>
      </pc:docMkLst>
      <pc:sldChg chg="modSp mod">
        <pc:chgData name="Liu, Daheng" userId="ca65f3f3-c4d6-4cea-8256-7b11f36bb87a" providerId="ADAL" clId="{80D19D72-4C6B-4C9E-88F5-96F1891C05B6}" dt="2024-01-29T16:26:52.793" v="814" actId="20577"/>
        <pc:sldMkLst>
          <pc:docMk/>
          <pc:sldMk cId="3918880151" sldId="2192"/>
        </pc:sldMkLst>
        <pc:spChg chg="mod">
          <ac:chgData name="Liu, Daheng" userId="ca65f3f3-c4d6-4cea-8256-7b11f36bb87a" providerId="ADAL" clId="{80D19D72-4C6B-4C9E-88F5-96F1891C05B6}" dt="2024-01-29T16:17:09.899" v="274" actId="20577"/>
          <ac:spMkLst>
            <pc:docMk/>
            <pc:sldMk cId="3918880151" sldId="2192"/>
            <ac:spMk id="13" creationId="{7949C454-85D4-48F1-ACA2-768F37B1BAB4}"/>
          </ac:spMkLst>
        </pc:spChg>
        <pc:spChg chg="mod">
          <ac:chgData name="Liu, Daheng" userId="ca65f3f3-c4d6-4cea-8256-7b11f36bb87a" providerId="ADAL" clId="{80D19D72-4C6B-4C9E-88F5-96F1891C05B6}" dt="2024-01-29T16:08:21.228" v="35" actId="14100"/>
          <ac:spMkLst>
            <pc:docMk/>
            <pc:sldMk cId="3918880151" sldId="2192"/>
            <ac:spMk id="20" creationId="{5EB885A7-65F4-45F4-B7DB-AAFE68D23B8F}"/>
          </ac:spMkLst>
        </pc:spChg>
        <pc:spChg chg="mod">
          <ac:chgData name="Liu, Daheng" userId="ca65f3f3-c4d6-4cea-8256-7b11f36bb87a" providerId="ADAL" clId="{80D19D72-4C6B-4C9E-88F5-96F1891C05B6}" dt="2024-01-29T16:08:48.775" v="36" actId="14100"/>
          <ac:spMkLst>
            <pc:docMk/>
            <pc:sldMk cId="3918880151" sldId="2192"/>
            <ac:spMk id="22" creationId="{9CF70A12-AAA3-4DE2-9A5F-5E5B7C9F37E6}"/>
          </ac:spMkLst>
        </pc:spChg>
        <pc:spChg chg="mod">
          <ac:chgData name="Liu, Daheng" userId="ca65f3f3-c4d6-4cea-8256-7b11f36bb87a" providerId="ADAL" clId="{80D19D72-4C6B-4C9E-88F5-96F1891C05B6}" dt="2024-01-29T16:26:52.793" v="814" actId="20577"/>
          <ac:spMkLst>
            <pc:docMk/>
            <pc:sldMk cId="3918880151" sldId="2192"/>
            <ac:spMk id="23" creationId="{946E24E4-87B8-4E1D-80AA-AA49EE0B9423}"/>
          </ac:spMkLst>
        </pc:spChg>
        <pc:picChg chg="mod modCrop">
          <ac:chgData name="Liu, Daheng" userId="ca65f3f3-c4d6-4cea-8256-7b11f36bb87a" providerId="ADAL" clId="{80D19D72-4C6B-4C9E-88F5-96F1891C05B6}" dt="2024-01-29T16:01:15.044" v="18" actId="18131"/>
          <ac:picMkLst>
            <pc:docMk/>
            <pc:sldMk cId="3918880151" sldId="2192"/>
            <ac:picMk id="5" creationId="{79CA8843-BF4F-423A-8881-66B006171197}"/>
          </ac:picMkLst>
        </pc:picChg>
      </pc:sldChg>
      <pc:sldChg chg="modSp mod">
        <pc:chgData name="Liu, Daheng" userId="ca65f3f3-c4d6-4cea-8256-7b11f36bb87a" providerId="ADAL" clId="{80D19D72-4C6B-4C9E-88F5-96F1891C05B6}" dt="2024-01-29T16:28:47.249" v="900" actId="113"/>
        <pc:sldMkLst>
          <pc:docMk/>
          <pc:sldMk cId="324615116" sldId="2202"/>
        </pc:sldMkLst>
        <pc:spChg chg="mod">
          <ac:chgData name="Liu, Daheng" userId="ca65f3f3-c4d6-4cea-8256-7b11f36bb87a" providerId="ADAL" clId="{80D19D72-4C6B-4C9E-88F5-96F1891C05B6}" dt="2024-01-29T16:28:47.249" v="900" actId="113"/>
          <ac:spMkLst>
            <pc:docMk/>
            <pc:sldMk cId="324615116" sldId="2202"/>
            <ac:spMk id="15" creationId="{AB46BF9A-93D3-4A77-9641-A61B8328ECAD}"/>
          </ac:spMkLst>
        </pc:spChg>
      </pc:sldChg>
      <pc:sldChg chg="addSp delSp modSp mod">
        <pc:chgData name="Liu, Daheng" userId="ca65f3f3-c4d6-4cea-8256-7b11f36bb87a" providerId="ADAL" clId="{80D19D72-4C6B-4C9E-88F5-96F1891C05B6}" dt="2024-01-29T17:29:42.838" v="1301" actId="948"/>
        <pc:sldMkLst>
          <pc:docMk/>
          <pc:sldMk cId="1796784738" sldId="2147309574"/>
        </pc:sldMkLst>
        <pc:spChg chg="add del">
          <ac:chgData name="Liu, Daheng" userId="ca65f3f3-c4d6-4cea-8256-7b11f36bb87a" providerId="ADAL" clId="{80D19D72-4C6B-4C9E-88F5-96F1891C05B6}" dt="2024-01-29T17:06:20.296" v="1275" actId="22"/>
          <ac:spMkLst>
            <pc:docMk/>
            <pc:sldMk cId="1796784738" sldId="2147309574"/>
            <ac:spMk id="6" creationId="{A4DF6EBF-5C65-5202-FE2D-0BAE44676324}"/>
          </ac:spMkLst>
        </pc:spChg>
        <pc:spChg chg="mod">
          <ac:chgData name="Liu, Daheng" userId="ca65f3f3-c4d6-4cea-8256-7b11f36bb87a" providerId="ADAL" clId="{80D19D72-4C6B-4C9E-88F5-96F1891C05B6}" dt="2024-01-29T17:29:42.838" v="1301" actId="948"/>
          <ac:spMkLst>
            <pc:docMk/>
            <pc:sldMk cId="1796784738" sldId="2147309574"/>
            <ac:spMk id="13" creationId="{7949C454-85D4-48F1-ACA2-768F37B1BAB4}"/>
          </ac:spMkLst>
        </pc:spChg>
        <pc:spChg chg="mod">
          <ac:chgData name="Liu, Daheng" userId="ca65f3f3-c4d6-4cea-8256-7b11f36bb87a" providerId="ADAL" clId="{80D19D72-4C6B-4C9E-88F5-96F1891C05B6}" dt="2024-01-29T17:28:54.280" v="1291" actId="1076"/>
          <ac:spMkLst>
            <pc:docMk/>
            <pc:sldMk cId="1796784738" sldId="2147309574"/>
            <ac:spMk id="16" creationId="{20E19629-87A1-4AC3-A88E-05EDFE0752FF}"/>
          </ac:spMkLst>
        </pc:spChg>
        <pc:spChg chg="mod">
          <ac:chgData name="Liu, Daheng" userId="ca65f3f3-c4d6-4cea-8256-7b11f36bb87a" providerId="ADAL" clId="{80D19D72-4C6B-4C9E-88F5-96F1891C05B6}" dt="2024-01-29T16:18:08.385" v="300" actId="20577"/>
          <ac:spMkLst>
            <pc:docMk/>
            <pc:sldMk cId="1796784738" sldId="2147309574"/>
            <ac:spMk id="20" creationId="{5EB885A7-65F4-45F4-B7DB-AAFE68D23B8F}"/>
          </ac:spMkLst>
        </pc:spChg>
        <pc:spChg chg="mod">
          <ac:chgData name="Liu, Daheng" userId="ca65f3f3-c4d6-4cea-8256-7b11f36bb87a" providerId="ADAL" clId="{80D19D72-4C6B-4C9E-88F5-96F1891C05B6}" dt="2024-01-29T17:28:54.280" v="1291" actId="1076"/>
          <ac:spMkLst>
            <pc:docMk/>
            <pc:sldMk cId="1796784738" sldId="2147309574"/>
            <ac:spMk id="22" creationId="{9CF70A12-AAA3-4DE2-9A5F-5E5B7C9F37E6}"/>
          </ac:spMkLst>
        </pc:spChg>
        <pc:picChg chg="mod">
          <ac:chgData name="Liu, Daheng" userId="ca65f3f3-c4d6-4cea-8256-7b11f36bb87a" providerId="ADAL" clId="{80D19D72-4C6B-4C9E-88F5-96F1891C05B6}" dt="2024-01-29T15:59:49.984" v="0" actId="14826"/>
          <ac:picMkLst>
            <pc:docMk/>
            <pc:sldMk cId="1796784738" sldId="2147309574"/>
            <ac:picMk id="7" creationId="{A1108B23-0A15-C7C6-EBD3-869AE377B06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684379" y="9869833"/>
            <a:ext cx="418040" cy="363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5299" tIns="47649" rIns="95299" bIns="47649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2BDA53CF-5499-45C3-B75A-C214E1492045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29665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3" userDrawn="1">
          <p15:clr>
            <a:srgbClr val="F26B43"/>
          </p15:clr>
        </p15:guide>
        <p15:guide id="2" pos="223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4180" y="498474"/>
            <a:ext cx="6155702" cy="346392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20383" y="9941841"/>
            <a:ext cx="382036" cy="292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5299" tIns="47649" rIns="95299" bIns="47649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685617F1-3522-4828-98AA-C3756C4D2E8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9F8DB2E-674C-A56B-3EC2-D109613E0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4180" y="4253210"/>
            <a:ext cx="6155702" cy="543660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389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rtl="0" fontAlgn="base">
      <a:spcBef>
        <a:spcPct val="30000"/>
      </a:spcBef>
      <a:spcAft>
        <a:spcPct val="0"/>
      </a:spcAft>
      <a:defRPr lang="de-DE" sz="1200" kern="0" noProof="0" dirty="0">
        <a:solidFill>
          <a:srgbClr val="161F28"/>
        </a:solidFill>
        <a:latin typeface="+mn-lt"/>
        <a:ea typeface="+mn-ea"/>
        <a:cs typeface="+mn-cs"/>
      </a:defRPr>
    </a:lvl1pPr>
    <a:lvl2pPr marL="180975" indent="-18097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lang="de-DE" sz="1200" kern="0" noProof="0" dirty="0">
        <a:solidFill>
          <a:srgbClr val="161F28"/>
        </a:solidFill>
        <a:latin typeface="+mn-lt"/>
        <a:ea typeface="+mn-ea"/>
        <a:cs typeface="+mn-cs"/>
      </a:defRPr>
    </a:lvl2pPr>
    <a:lvl3pPr marL="361950" indent="-180975" algn="l" rtl="0" fontAlgn="base">
      <a:spcBef>
        <a:spcPct val="30000"/>
      </a:spcBef>
      <a:spcAft>
        <a:spcPct val="0"/>
      </a:spcAft>
      <a:buFont typeface="Symbol" panose="05050102010706020507" pitchFamily="18" charset="2"/>
      <a:buChar char="-"/>
      <a:defRPr lang="de-DE" sz="1200" kern="0" noProof="0" dirty="0">
        <a:solidFill>
          <a:srgbClr val="161F28"/>
        </a:solidFill>
        <a:latin typeface="+mn-lt"/>
        <a:ea typeface="+mn-ea"/>
        <a:cs typeface="+mn-cs"/>
      </a:defRPr>
    </a:lvl3pPr>
    <a:lvl4pPr marL="542925" indent="-180975" algn="l" rtl="0" fontAlgn="base">
      <a:spcBef>
        <a:spcPct val="30000"/>
      </a:spcBef>
      <a:spcAft>
        <a:spcPct val="0"/>
      </a:spcAft>
      <a:buFont typeface="Symbol" panose="05050102010706020507" pitchFamily="18" charset="2"/>
      <a:buChar char="-"/>
      <a:defRPr lang="de-DE" sz="1200" kern="0" noProof="0" dirty="0">
        <a:solidFill>
          <a:srgbClr val="161F28"/>
        </a:solidFill>
        <a:latin typeface="+mn-lt"/>
        <a:ea typeface="+mn-ea"/>
        <a:cs typeface="+mn-cs"/>
      </a:defRPr>
    </a:lvl4pPr>
    <a:lvl5pPr marL="714375" indent="-171450" algn="l" rtl="0" fontAlgn="base">
      <a:spcBef>
        <a:spcPct val="30000"/>
      </a:spcBef>
      <a:spcAft>
        <a:spcPct val="0"/>
      </a:spcAft>
      <a:buFont typeface="Symbol" panose="05050102010706020507" pitchFamily="18" charset="2"/>
      <a:buChar char="-"/>
      <a:defRPr lang="de-DE" sz="1200" kern="1200" baseline="0" noProof="0" dirty="0">
        <a:solidFill>
          <a:srgbClr val="161F28"/>
        </a:solidFill>
        <a:latin typeface="+mn-lt"/>
        <a:ea typeface="+mn-ea"/>
        <a:cs typeface="+mn-cs"/>
      </a:defRPr>
    </a:lvl5pPr>
    <a:lvl6pPr marL="2943238" algn="l" defTabSz="1177296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6pPr>
    <a:lvl7pPr marL="3531885" algn="l" defTabSz="1177296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7pPr>
    <a:lvl8pPr marL="4120535" algn="l" defTabSz="1177296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8pPr>
    <a:lvl9pPr marL="4709181" algn="l" defTabSz="1177296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3" userDrawn="1">
          <p15:clr>
            <a:srgbClr val="F26B43"/>
          </p15:clr>
        </p15:guide>
        <p15:guide id="2" pos="223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0EDB6657-4BBA-004B-CC54-EE5EBA46EF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73075" y="498475"/>
            <a:ext cx="6157913" cy="3463925"/>
          </a:xfrm>
        </p:spPr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CE1B2A-BA30-6BF3-D725-F119BF7AA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617F1-3522-4828-98AA-C3756C4D2E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264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ture_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DAB07841-5240-EDE0-57BA-B3752292CB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002103 h 6858000"/>
              <a:gd name="connsiteX1" fmla="*/ 12192000 w 12192000"/>
              <a:gd name="connsiteY1" fmla="*/ 6002103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700257 w 12192000"/>
              <a:gd name="connsiteY4" fmla="*/ 337035 h 6858000"/>
              <a:gd name="connsiteX5" fmla="*/ 11657442 w 12192000"/>
              <a:gd name="connsiteY5" fmla="*/ 379851 h 6858000"/>
              <a:gd name="connsiteX6" fmla="*/ 11700257 w 12192000"/>
              <a:gd name="connsiteY6" fmla="*/ 379851 h 6858000"/>
              <a:gd name="connsiteX7" fmla="*/ 11700257 w 12192000"/>
              <a:gd name="connsiteY7" fmla="*/ 591982 h 6858000"/>
              <a:gd name="connsiteX8" fmla="*/ 11785889 w 12192000"/>
              <a:gd name="connsiteY8" fmla="*/ 571548 h 6858000"/>
              <a:gd name="connsiteX9" fmla="*/ 11785889 w 12192000"/>
              <a:gd name="connsiteY9" fmla="*/ 357470 h 6858000"/>
              <a:gd name="connsiteX10" fmla="*/ 11442391 w 12192000"/>
              <a:gd name="connsiteY10" fmla="*/ 274758 h 6858000"/>
              <a:gd name="connsiteX11" fmla="*/ 11442391 w 12192000"/>
              <a:gd name="connsiteY11" fmla="*/ 655233 h 6858000"/>
              <a:gd name="connsiteX12" fmla="*/ 11528022 w 12192000"/>
              <a:gd name="connsiteY12" fmla="*/ 634798 h 6858000"/>
              <a:gd name="connsiteX13" fmla="*/ 11528022 w 12192000"/>
              <a:gd name="connsiteY13" fmla="*/ 370120 h 6858000"/>
              <a:gd name="connsiteX14" fmla="*/ 11528022 w 12192000"/>
              <a:gd name="connsiteY14" fmla="*/ 348712 h 6858000"/>
              <a:gd name="connsiteX15" fmla="*/ 11570838 w 12192000"/>
              <a:gd name="connsiteY15" fmla="*/ 348712 h 6858000"/>
              <a:gd name="connsiteX16" fmla="*/ 11570838 w 12192000"/>
              <a:gd name="connsiteY16" fmla="*/ 623121 h 6858000"/>
              <a:gd name="connsiteX17" fmla="*/ 11656469 w 12192000"/>
              <a:gd name="connsiteY17" fmla="*/ 602686 h 6858000"/>
              <a:gd name="connsiteX18" fmla="*/ 11656469 w 12192000"/>
              <a:gd name="connsiteY18" fmla="*/ 379851 h 6858000"/>
              <a:gd name="connsiteX19" fmla="*/ 11656469 w 12192000"/>
              <a:gd name="connsiteY19" fmla="*/ 326331 h 6858000"/>
              <a:gd name="connsiteX20" fmla="*/ 11570838 w 12192000"/>
              <a:gd name="connsiteY20" fmla="*/ 305897 h 6858000"/>
              <a:gd name="connsiteX21" fmla="*/ 11528022 w 12192000"/>
              <a:gd name="connsiteY21" fmla="*/ 348712 h 6858000"/>
              <a:gd name="connsiteX22" fmla="*/ 11528022 w 12192000"/>
              <a:gd name="connsiteY22" fmla="*/ 295193 h 6858000"/>
              <a:gd name="connsiteX23" fmla="*/ 0 w 12192000"/>
              <a:gd name="connsiteY23" fmla="*/ 0 h 6858000"/>
              <a:gd name="connsiteX24" fmla="*/ 12192000 w 12192000"/>
              <a:gd name="connsiteY24" fmla="*/ 0 h 6858000"/>
              <a:gd name="connsiteX25" fmla="*/ 12192000 w 12192000"/>
              <a:gd name="connsiteY25" fmla="*/ 3042222 h 6858000"/>
              <a:gd name="connsiteX26" fmla="*/ 0 w 12192000"/>
              <a:gd name="connsiteY26" fmla="*/ 600210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192000" h="6858000">
                <a:moveTo>
                  <a:pt x="0" y="6002103"/>
                </a:moveTo>
                <a:lnTo>
                  <a:pt x="12192000" y="6002103"/>
                </a:lnTo>
                <a:lnTo>
                  <a:pt x="12192000" y="6858000"/>
                </a:lnTo>
                <a:lnTo>
                  <a:pt x="0" y="6858000"/>
                </a:lnTo>
                <a:close/>
                <a:moveTo>
                  <a:pt x="11700257" y="337035"/>
                </a:moveTo>
                <a:lnTo>
                  <a:pt x="11657442" y="379851"/>
                </a:lnTo>
                <a:lnTo>
                  <a:pt x="11700257" y="379851"/>
                </a:lnTo>
                <a:lnTo>
                  <a:pt x="11700257" y="591982"/>
                </a:lnTo>
                <a:lnTo>
                  <a:pt x="11785889" y="571548"/>
                </a:lnTo>
                <a:lnTo>
                  <a:pt x="11785889" y="357470"/>
                </a:lnTo>
                <a:close/>
                <a:moveTo>
                  <a:pt x="11442391" y="274758"/>
                </a:moveTo>
                <a:lnTo>
                  <a:pt x="11442391" y="655233"/>
                </a:lnTo>
                <a:lnTo>
                  <a:pt x="11528022" y="634798"/>
                </a:lnTo>
                <a:lnTo>
                  <a:pt x="11528022" y="370120"/>
                </a:lnTo>
                <a:lnTo>
                  <a:pt x="11528022" y="348712"/>
                </a:lnTo>
                <a:lnTo>
                  <a:pt x="11570838" y="348712"/>
                </a:lnTo>
                <a:lnTo>
                  <a:pt x="11570838" y="623121"/>
                </a:lnTo>
                <a:lnTo>
                  <a:pt x="11656469" y="602686"/>
                </a:lnTo>
                <a:lnTo>
                  <a:pt x="11656469" y="379851"/>
                </a:lnTo>
                <a:lnTo>
                  <a:pt x="11656469" y="326331"/>
                </a:lnTo>
                <a:lnTo>
                  <a:pt x="11570838" y="305897"/>
                </a:lnTo>
                <a:lnTo>
                  <a:pt x="11528022" y="348712"/>
                </a:lnTo>
                <a:lnTo>
                  <a:pt x="11528022" y="2951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042222"/>
                </a:lnTo>
                <a:lnTo>
                  <a:pt x="0" y="6002103"/>
                </a:lnTo>
                <a:close/>
              </a:path>
            </a:pathLst>
          </a:custGeom>
          <a:pattFill prst="pct70">
            <a:fgClr>
              <a:srgbClr val="F9AEB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3600"/>
            </a:lvl1pPr>
          </a:lstStyle>
          <a:p>
            <a:pPr lvl="0" algn="ctr"/>
            <a:br>
              <a:rPr lang="de-DE"/>
            </a:br>
            <a:r>
              <a:rPr lang="de-DE"/>
              <a:t>Please insert picture</a:t>
            </a:r>
          </a:p>
          <a:p>
            <a:pPr lvl="0"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05D0005-25C3-CC61-424D-0B989BB23E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0900" y="4407694"/>
            <a:ext cx="2741931" cy="985724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1488"/>
            <a:ext cx="10585177" cy="1225800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000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3000"/>
              </a:lnSpc>
            </a:pPr>
            <a:r>
              <a:rPr lang="de-DE" noProof="0"/>
              <a:t>Please enter the title for this presentation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645582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b="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Subtitle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DF8745-2DAA-709B-6103-22DECB4EC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7328" y="6886575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48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Left Teal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47628" y="512676"/>
            <a:ext cx="8244000" cy="792000"/>
          </a:xfrm>
        </p:spPr>
        <p:txBody>
          <a:bodyPr>
            <a:noAutofit/>
          </a:bodyPr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FE848EF-23D1-713C-033B-16BA1D63D9F7}"/>
              </a:ext>
            </a:extLst>
          </p:cNvPr>
          <p:cNvSpPr/>
          <p:nvPr userDrawn="1"/>
        </p:nvSpPr>
        <p:spPr bwMode="gray">
          <a:xfrm>
            <a:off x="0" y="0"/>
            <a:ext cx="2424113" cy="6858000"/>
          </a:xfrm>
          <a:prstGeom prst="rect">
            <a:avLst/>
          </a:prstGeom>
          <a:solidFill>
            <a:schemeClr val="accent1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Navigator">
            <a:extLst>
              <a:ext uri="{FF2B5EF4-FFF2-40B4-BE49-F238E27FC236}">
                <a16:creationId xmlns:a16="http://schemas.microsoft.com/office/drawing/2014/main" id="{56E9CC66-376B-719B-3CDD-1769953BC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47628" y="224644"/>
            <a:ext cx="8244000" cy="180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200" smtClean="0"/>
            </a:lvl1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6C8F12-57A7-FDAF-1D9C-606BE08698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5677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731">
          <p15:clr>
            <a:srgbClr val="FBAE40"/>
          </p15:clr>
        </p15:guide>
        <p15:guide id="2" pos="132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Left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20F739A-1FDF-C267-CD14-5851F8D5A45C}"/>
              </a:ext>
            </a:extLst>
          </p:cNvPr>
          <p:cNvSpPr/>
          <p:nvPr userDrawn="1"/>
        </p:nvSpPr>
        <p:spPr>
          <a:xfrm>
            <a:off x="0" y="0"/>
            <a:ext cx="4764088" cy="6858000"/>
          </a:xfrm>
          <a:prstGeom prst="rect">
            <a:avLst/>
          </a:prstGeom>
          <a:solidFill>
            <a:srgbClr val="00ADA4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7888" y="512676"/>
            <a:ext cx="5904000" cy="792000"/>
          </a:xfrm>
        </p:spPr>
        <p:txBody>
          <a:bodyPr/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927BA5A3-BE98-69E5-E225-BE28AC7AF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7888" y="224644"/>
            <a:ext cx="590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994BD5-FB77-FC36-FECF-271E19882F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32722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  <p15:guide id="2" pos="279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Left Dark Teal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47628" y="512676"/>
            <a:ext cx="8244000" cy="792000"/>
          </a:xfrm>
        </p:spPr>
        <p:txBody>
          <a:bodyPr>
            <a:noAutofit/>
          </a:bodyPr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FE848EF-23D1-713C-033B-16BA1D63D9F7}"/>
              </a:ext>
            </a:extLst>
          </p:cNvPr>
          <p:cNvSpPr/>
          <p:nvPr userDrawn="1"/>
        </p:nvSpPr>
        <p:spPr>
          <a:xfrm>
            <a:off x="0" y="0"/>
            <a:ext cx="2424113" cy="6858000"/>
          </a:xfrm>
          <a:prstGeom prst="rect">
            <a:avLst/>
          </a:prstGeom>
          <a:solidFill>
            <a:schemeClr val="accent2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Navigator">
            <a:extLst>
              <a:ext uri="{FF2B5EF4-FFF2-40B4-BE49-F238E27FC236}">
                <a16:creationId xmlns:a16="http://schemas.microsoft.com/office/drawing/2014/main" id="{656EB9B8-1937-AACB-BA14-527EC5962F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47628" y="224644"/>
            <a:ext cx="824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4602E3-5D8E-648F-1968-75A4EA0761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6401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731" userDrawn="1">
          <p15:clr>
            <a:srgbClr val="FBAE40"/>
          </p15:clr>
        </p15:guide>
        <p15:guide id="2" pos="13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eal Left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20F739A-1FDF-C267-CD14-5851F8D5A45C}"/>
              </a:ext>
            </a:extLst>
          </p:cNvPr>
          <p:cNvSpPr/>
          <p:nvPr userDrawn="1"/>
        </p:nvSpPr>
        <p:spPr>
          <a:xfrm>
            <a:off x="0" y="0"/>
            <a:ext cx="4764088" cy="6858000"/>
          </a:xfrm>
          <a:prstGeom prst="rect">
            <a:avLst/>
          </a:prstGeom>
          <a:solidFill>
            <a:schemeClr val="accent2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7888" y="512676"/>
            <a:ext cx="5904000" cy="792000"/>
          </a:xfrm>
        </p:spPr>
        <p:txBody>
          <a:bodyPr/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2BC1F3DA-ECEE-DBE2-A551-394F75258D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7888" y="224644"/>
            <a:ext cx="590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80A99E-7811-BD95-05C5-8F8250A118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4006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  <p15:guide id="2" pos="279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Left Black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47628" y="512676"/>
            <a:ext cx="8244000" cy="792000"/>
          </a:xfrm>
        </p:spPr>
        <p:txBody>
          <a:bodyPr>
            <a:noAutofit/>
          </a:bodyPr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FE848EF-23D1-713C-033B-16BA1D63D9F7}"/>
              </a:ext>
            </a:extLst>
          </p:cNvPr>
          <p:cNvSpPr/>
          <p:nvPr userDrawn="1"/>
        </p:nvSpPr>
        <p:spPr>
          <a:xfrm>
            <a:off x="0" y="0"/>
            <a:ext cx="2424113" cy="6858000"/>
          </a:xfrm>
          <a:prstGeom prst="rect">
            <a:avLst/>
          </a:prstGeom>
          <a:solidFill>
            <a:schemeClr val="tx1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Navigator">
            <a:extLst>
              <a:ext uri="{FF2B5EF4-FFF2-40B4-BE49-F238E27FC236}">
                <a16:creationId xmlns:a16="http://schemas.microsoft.com/office/drawing/2014/main" id="{0136CCB7-8991-78CF-ABF9-200F60C8AA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47628" y="224644"/>
            <a:ext cx="824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F9E99B-7E71-4323-EF89-085CA01F723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13352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731" userDrawn="1">
          <p15:clr>
            <a:srgbClr val="FBAE40"/>
          </p15:clr>
        </p15:guide>
        <p15:guide id="2" pos="132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Left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220F739A-1FDF-C267-CD14-5851F8D5A45C}"/>
              </a:ext>
            </a:extLst>
          </p:cNvPr>
          <p:cNvSpPr/>
          <p:nvPr userDrawn="1"/>
        </p:nvSpPr>
        <p:spPr>
          <a:xfrm>
            <a:off x="0" y="0"/>
            <a:ext cx="4764088" cy="6858000"/>
          </a:xfrm>
          <a:prstGeom prst="rect">
            <a:avLst/>
          </a:prstGeom>
          <a:solidFill>
            <a:schemeClr val="tx1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7888" y="512676"/>
            <a:ext cx="5904000" cy="792000"/>
          </a:xfrm>
        </p:spPr>
        <p:txBody>
          <a:bodyPr>
            <a:noAutofit/>
          </a:bodyPr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27AEFADD-BE37-8306-B660-8BA97D7755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7888" y="224644"/>
            <a:ext cx="590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C0C72E-67B4-FE60-DD64-1D985ED8B9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7545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  <p15:guide id="2" pos="279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Image Left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CE0B93-EED4-1149-4B3F-913EC1770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47629" y="512676"/>
            <a:ext cx="8244000" cy="792000"/>
          </a:xfrm>
        </p:spPr>
        <p:txBody>
          <a:bodyPr/>
          <a:lstStyle>
            <a:lvl1pPr>
              <a:lnSpc>
                <a:spcPct val="92000"/>
              </a:lnSpc>
              <a:defRPr/>
            </a:lvl1pPr>
          </a:lstStyle>
          <a:p>
            <a:r>
              <a:rPr lang="de-DE"/>
              <a:t>Enter 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586BB41F-F224-D751-030D-61AB35029A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2424113" cy="6858000"/>
          </a:xfrm>
          <a:prstGeom prst="rect">
            <a:avLst/>
          </a:prstGeom>
          <a:pattFill prst="pct70">
            <a:fgClr>
              <a:srgbClr val="F9AEB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de-DE" sz="2400"/>
            </a:lvl1pPr>
          </a:lstStyle>
          <a:p>
            <a:pPr lvl="0" algn="ctr"/>
            <a:r>
              <a:rPr lang="de-DE"/>
              <a:t>Please insert picture</a:t>
            </a:r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1BE6C7E3-2DBB-7EC4-E932-1D0143640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47629" y="224644"/>
            <a:ext cx="824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41445B-610E-4FFB-2F5C-37CA5908AA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7766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73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055A8DEC-73D0-4B88-8959-E9579A894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7889" y="512676"/>
            <a:ext cx="5904000" cy="79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935641D-2B33-42EB-ABBB-FC3147D633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2"/>
            <a:ext cx="4764088" cy="6856153"/>
          </a:xfrm>
          <a:prstGeom prst="rect">
            <a:avLst/>
          </a:prstGeom>
          <a:pattFill prst="pct70">
            <a:fgClr>
              <a:srgbClr val="F9AEB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de-DE" sz="3600" dirty="0"/>
            </a:lvl1pPr>
          </a:lstStyle>
          <a:p>
            <a:pPr lvl="0" algn="ctr"/>
            <a:r>
              <a:rPr lang="de-DE"/>
              <a:t>Please insert</a:t>
            </a:r>
            <a:br>
              <a:rPr lang="de-DE"/>
            </a:br>
            <a:r>
              <a:rPr lang="de-DE"/>
              <a:t>picture</a:t>
            </a:r>
            <a:endParaRPr lang="de-DE" dirty="0"/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12CF6FA8-13D4-5531-F451-ABA1C1EAB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7889" y="224644"/>
            <a:ext cx="590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161F28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48BC7B-06B9-F4D1-013B-A054B93EE0B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58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 (No_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935641D-2B33-42EB-ABBB-FC3147D633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1" y="0"/>
            <a:ext cx="7104112" cy="6858000"/>
          </a:xfrm>
          <a:prstGeom prst="rect">
            <a:avLst/>
          </a:prstGeom>
          <a:pattFill prst="pct70">
            <a:fgClr>
              <a:srgbClr val="F9AEBE"/>
            </a:fgClr>
            <a:bgClr>
              <a:schemeClr val="bg1"/>
            </a:bgClr>
          </a:patt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marR="0" indent="0" algn="ctr" defTabSz="66460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A5A5A"/>
              </a:buClr>
              <a:buSzTx/>
              <a:buFont typeface="Arial" charset="0"/>
              <a:buNone/>
              <a:tabLst/>
              <a:defRPr lang="de-DE" sz="3600"/>
            </a:lvl1pPr>
          </a:lstStyle>
          <a:p>
            <a:pPr marL="0" marR="0" lvl="0" indent="0" algn="ctr" defTabSz="66460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A5A5A"/>
              </a:buClr>
              <a:buSzTx/>
              <a:buFont typeface="Arial" charset="0"/>
              <a:buNone/>
              <a:tabLst/>
              <a:defRPr/>
            </a:pPr>
            <a:r>
              <a:rPr lang="de-DE"/>
              <a:t>Please insert</a:t>
            </a:r>
            <a:br>
              <a:rPr lang="de-DE"/>
            </a:br>
            <a:r>
              <a:rPr lang="de-DE"/>
              <a:t>picture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8C1ECA-21E8-A118-DBF6-94BD7FDC9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62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46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 Dark Background (Title_Onl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055A8DEC-73D0-4B88-8959-E9579A8948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7888" y="512676"/>
            <a:ext cx="5904000" cy="7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ter Headline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935641D-2B33-42EB-ABBB-FC3147D633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0"/>
            <a:ext cx="4764088" cy="6858000"/>
          </a:xfrm>
          <a:prstGeom prst="rect">
            <a:avLst/>
          </a:prstGeom>
          <a:pattFill prst="pct70">
            <a:fgClr>
              <a:srgbClr val="F9AEBE"/>
            </a:fgClr>
            <a:bgClr>
              <a:schemeClr val="bg1"/>
            </a:bgClr>
          </a:patt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marR="0" indent="0" algn="ctr" defTabSz="66460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A5A5A"/>
              </a:buClr>
              <a:buSzTx/>
              <a:buFont typeface="Arial" charset="0"/>
              <a:buNone/>
              <a:tabLst/>
              <a:defRPr lang="de-DE" sz="3600"/>
            </a:lvl1pPr>
          </a:lstStyle>
          <a:p>
            <a:pPr marL="0" marR="0" lvl="0" indent="0" algn="ctr" defTabSz="66460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A5A5A"/>
              </a:buClr>
              <a:buSzTx/>
              <a:buFont typeface="Arial" charset="0"/>
              <a:buNone/>
              <a:tabLst/>
              <a:defRPr/>
            </a:pPr>
            <a:r>
              <a:rPr lang="de-DE"/>
              <a:t>Please insert</a:t>
            </a:r>
            <a:br>
              <a:rPr lang="de-DE"/>
            </a:br>
            <a:r>
              <a:rPr lang="de-DE"/>
              <a:t>pictur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389AB10-D5A2-9712-74B5-9665A57CC4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1434119" y="260648"/>
            <a:ext cx="360040" cy="408694"/>
          </a:xfrm>
          <a:prstGeom prst="rect">
            <a:avLst/>
          </a:prstGeom>
        </p:spPr>
      </p:pic>
      <p:sp>
        <p:nvSpPr>
          <p:cNvPr id="2" name="Navigator">
            <a:extLst>
              <a:ext uri="{FF2B5EF4-FFF2-40B4-BE49-F238E27FC236}">
                <a16:creationId xmlns:a16="http://schemas.microsoft.com/office/drawing/2014/main" id="{2F9FD508-BB82-0C1F-B0E4-A69A3B9264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7888" y="224644"/>
            <a:ext cx="5904000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rgbClr val="FFFFFF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3E7FF0-92BE-673F-B7FF-02B81D2EA2C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Miebach Consulting</a:t>
            </a:r>
            <a:endParaRPr lang="en-US" dirty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23E5439-1282-934B-2BE3-3E43409A523B}"/>
              </a:ext>
            </a:extLst>
          </p:cNvPr>
          <p:cNvSpPr txBox="1"/>
          <p:nvPr userDrawn="1"/>
        </p:nvSpPr>
        <p:spPr bwMode="auto">
          <a:xfrm>
            <a:off x="11532605" y="6561348"/>
            <a:ext cx="252028" cy="144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 b="1">
                <a:solidFill>
                  <a:srgbClr val="161F28"/>
                </a:solidFill>
              </a:defRPr>
            </a:lvl1pPr>
          </a:lstStyle>
          <a:p>
            <a:pPr lvl="0"/>
            <a:fld id="{FAE464C4-8EE1-4086-AC4A-03C14B8960C1}" type="slidenum">
              <a:rPr lang="de-DE" smtClean="0">
                <a:solidFill>
                  <a:srgbClr val="FFFFFF"/>
                </a:solidFill>
              </a:rPr>
              <a:pPr lvl="0"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13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20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Dark_Teal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winkliges Dreieck 4">
            <a:extLst>
              <a:ext uri="{FF2B5EF4-FFF2-40B4-BE49-F238E27FC236}">
                <a16:creationId xmlns:a16="http://schemas.microsoft.com/office/drawing/2014/main" id="{16A9F332-418A-6E32-10D8-7F79A194B0AE}"/>
              </a:ext>
            </a:extLst>
          </p:cNvPr>
          <p:cNvSpPr/>
          <p:nvPr userDrawn="1"/>
        </p:nvSpPr>
        <p:spPr bwMode="auto">
          <a:xfrm flipH="1">
            <a:off x="-5" y="3037290"/>
            <a:ext cx="12192001" cy="2969394"/>
          </a:xfrm>
          <a:prstGeom prst="rtTriangle">
            <a:avLst/>
          </a:prstGeom>
          <a:solidFill>
            <a:srgbClr val="FFFFFF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05D0005-25C3-CC61-424D-0B989BB23E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0900" y="4407694"/>
            <a:ext cx="2741931" cy="985724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1488"/>
            <a:ext cx="10585177" cy="1225800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000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3000"/>
              </a:lnSpc>
            </a:pPr>
            <a:r>
              <a:rPr lang="de-DE" noProof="0"/>
              <a:t>Please enter the title for this presentation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645582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Subtitle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B49973-77E8-1FA0-AEF4-0AA21494A48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 flipH="1">
            <a:off x="11324" y="6885384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AE464C4-8EE1-4086-AC4A-03C14B8960C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FA123AF-7D7B-C9C2-E510-CF15DB4C87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4119" y="260648"/>
            <a:ext cx="360040" cy="40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01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3F3E1D4-AD45-98B6-2BEE-1452855479D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6858001"/>
              <a:gd name="connsiteX1" fmla="*/ 12182454 w 12192000"/>
              <a:gd name="connsiteY1" fmla="*/ 0 h 6858001"/>
              <a:gd name="connsiteX2" fmla="*/ 5113742 w 12192000"/>
              <a:gd name="connsiteY2" fmla="*/ 1716088 h 6858001"/>
              <a:gd name="connsiteX3" fmla="*/ 12191998 w 12192000"/>
              <a:gd name="connsiteY3" fmla="*/ 1716088 h 6858001"/>
              <a:gd name="connsiteX4" fmla="*/ 12191998 w 12192000"/>
              <a:gd name="connsiteY4" fmla="*/ 0 h 6858001"/>
              <a:gd name="connsiteX5" fmla="*/ 12192000 w 12192000"/>
              <a:gd name="connsiteY5" fmla="*/ 0 h 6858001"/>
              <a:gd name="connsiteX6" fmla="*/ 12192000 w 12192000"/>
              <a:gd name="connsiteY6" fmla="*/ 6858001 h 6858001"/>
              <a:gd name="connsiteX7" fmla="*/ 0 w 12192000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2182454" y="0"/>
                </a:lnTo>
                <a:lnTo>
                  <a:pt x="5113742" y="1716088"/>
                </a:lnTo>
                <a:lnTo>
                  <a:pt x="12191998" y="1716088"/>
                </a:lnTo>
                <a:lnTo>
                  <a:pt x="12191998" y="0"/>
                </a:ln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close/>
              </a:path>
            </a:pathLst>
          </a:custGeom>
          <a:pattFill prst="pct70">
            <a:fgClr>
              <a:srgbClr val="F9AEB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600"/>
            </a:lvl1pPr>
          </a:lstStyle>
          <a:p>
            <a:pPr lvl="0" algn="ctr"/>
            <a:r>
              <a:rPr lang="de-DE"/>
              <a:t>Please insert picture</a:t>
            </a:r>
          </a:p>
          <a:p>
            <a:pPr lvl="0" algn="ctr"/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5073553"/>
            <a:ext cx="6912148" cy="971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kern="0" noProof="0" dirty="0">
                <a:solidFill>
                  <a:schemeClr val="accent6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marL="0" lvl="0" indent="0" defTabSz="664605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FontTx/>
              <a:buNone/>
            </a:pPr>
            <a:r>
              <a:rPr lang="de-DE" noProof="0"/>
              <a:t>Enter key message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839336"/>
            <a:ext cx="10585450" cy="12255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de-DE" sz="4600" b="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1257636">
              <a:spcBef>
                <a:spcPct val="0"/>
              </a:spcBef>
              <a:spcAft>
                <a:spcPct val="0"/>
              </a:spcAft>
            </a:pPr>
            <a:r>
              <a:rPr lang="de-DE" noProof="0"/>
              <a:t>Enter topic here</a:t>
            </a:r>
            <a:endParaRPr lang="de-DE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6A5C975-F25E-6D66-ADD1-15314E640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46412" y="713548"/>
            <a:ext cx="1435838" cy="516183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161C2E-E543-CF14-13A3-F01E36386A7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3E12A2-33DA-1496-EFC6-0883E0285BE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324" y="6885384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de-DE" sz="100" smtClean="0">
                <a:noFill/>
              </a:defRPr>
            </a:lvl1pPr>
          </a:lstStyle>
          <a:p>
            <a:fld id="{FAE464C4-8EE1-4086-AC4A-03C14B8960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95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Dark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winkliges Dreieck 2">
            <a:extLst>
              <a:ext uri="{FF2B5EF4-FFF2-40B4-BE49-F238E27FC236}">
                <a16:creationId xmlns:a16="http://schemas.microsoft.com/office/drawing/2014/main" id="{9C4ADC75-345B-2256-4FAF-45AE748AA8AE}"/>
              </a:ext>
            </a:extLst>
          </p:cNvPr>
          <p:cNvSpPr/>
          <p:nvPr userDrawn="1"/>
        </p:nvSpPr>
        <p:spPr>
          <a:xfrm flipH="1">
            <a:off x="5123892" y="0"/>
            <a:ext cx="7068108" cy="1716570"/>
          </a:xfrm>
          <a:prstGeom prst="rtTriangle">
            <a:avLst/>
          </a:prstGeom>
          <a:solidFill>
            <a:schemeClr val="bg1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5073553"/>
            <a:ext cx="6912148" cy="971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kern="0" noProof="0" dirty="0">
                <a:solidFill>
                  <a:schemeClr val="accent6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marL="0" lvl="0" indent="0" defTabSz="664605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FontTx/>
              <a:buNone/>
            </a:pPr>
            <a:r>
              <a:rPr lang="de-DE" noProof="0"/>
              <a:t>Enter key message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839336"/>
            <a:ext cx="10585450" cy="12255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de-DE" sz="4600" b="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1257636">
              <a:spcBef>
                <a:spcPct val="0"/>
              </a:spcBef>
              <a:spcAft>
                <a:spcPct val="0"/>
              </a:spcAft>
            </a:pPr>
            <a:r>
              <a:rPr lang="de-DE" noProof="0"/>
              <a:t>Enter topic here</a:t>
            </a:r>
            <a:endParaRPr lang="de-DE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6A5C975-F25E-6D66-ADD1-15314E640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46412" y="713548"/>
            <a:ext cx="1435838" cy="51618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DCFDC2-4796-CE4C-E361-CA4A1639A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D0B57E-F20B-4AF9-69F8-4337BFD1E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" y="6885384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de-DE" sz="100" smtClean="0">
                <a:noFill/>
              </a:defRPr>
            </a:lvl1pPr>
          </a:lstStyle>
          <a:p>
            <a:fld id="{FAE464C4-8EE1-4086-AC4A-03C14B8960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55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3">
            <a:extLst>
              <a:ext uri="{FF2B5EF4-FFF2-40B4-BE49-F238E27FC236}">
                <a16:creationId xmlns:a16="http://schemas.microsoft.com/office/drawing/2014/main" id="{69B3D565-37F9-B20A-7493-80EC98F4F1C8}"/>
              </a:ext>
            </a:extLst>
          </p:cNvPr>
          <p:cNvSpPr/>
          <p:nvPr userDrawn="1"/>
        </p:nvSpPr>
        <p:spPr>
          <a:xfrm flipH="1">
            <a:off x="5123892" y="0"/>
            <a:ext cx="7068108" cy="1716570"/>
          </a:xfrm>
          <a:prstGeom prst="rtTriangle">
            <a:avLst/>
          </a:prstGeom>
          <a:solidFill>
            <a:schemeClr val="bg1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5073553"/>
            <a:ext cx="6912148" cy="971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kern="0" noProof="0" dirty="0">
                <a:solidFill>
                  <a:schemeClr val="accent6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marL="0" lvl="0" indent="0" defTabSz="664605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FontTx/>
              <a:buNone/>
            </a:pPr>
            <a:r>
              <a:rPr lang="de-DE" noProof="0"/>
              <a:t>Enter key message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839336"/>
            <a:ext cx="10585450" cy="12255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de-DE" sz="4600" b="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1257636">
              <a:spcBef>
                <a:spcPct val="0"/>
              </a:spcBef>
              <a:spcAft>
                <a:spcPct val="0"/>
              </a:spcAft>
            </a:pPr>
            <a:r>
              <a:rPr lang="de-DE" noProof="0"/>
              <a:t>Enter topic here</a:t>
            </a:r>
            <a:endParaRPr lang="de-DE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6A5C975-F25E-6D66-ADD1-15314E640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46412" y="713548"/>
            <a:ext cx="1435838" cy="516183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EB4B074-A836-0241-CC7E-EB800EAEF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F92D79-A08A-85AE-2370-D897DC517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" y="6885384"/>
            <a:ext cx="0" cy="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de-DE" sz="100" smtClean="0">
                <a:noFill/>
              </a:defRPr>
            </a:lvl1pPr>
          </a:lstStyle>
          <a:p>
            <a:fld id="{FAE464C4-8EE1-4086-AC4A-03C14B8960C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337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winkliges Dreieck 4">
            <a:extLst>
              <a:ext uri="{FF2B5EF4-FFF2-40B4-BE49-F238E27FC236}">
                <a16:creationId xmlns:a16="http://schemas.microsoft.com/office/drawing/2014/main" id="{16A9F332-418A-6E32-10D8-7F79A194B0AE}"/>
              </a:ext>
            </a:extLst>
          </p:cNvPr>
          <p:cNvSpPr/>
          <p:nvPr userDrawn="1"/>
        </p:nvSpPr>
        <p:spPr bwMode="auto">
          <a:xfrm flipH="1">
            <a:off x="-5" y="3037290"/>
            <a:ext cx="12192001" cy="2969394"/>
          </a:xfrm>
          <a:prstGeom prst="rtTriangle">
            <a:avLst/>
          </a:prstGeom>
          <a:solidFill>
            <a:srgbClr val="FFFFFF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05D0005-25C3-CC61-424D-0B989BB23E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0900" y="4407694"/>
            <a:ext cx="2741931" cy="985724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1488"/>
            <a:ext cx="10585177" cy="1225800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000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3000"/>
              </a:lnSpc>
            </a:pPr>
            <a:r>
              <a:rPr lang="de-DE" noProof="0"/>
              <a:t>Please enter the title for this presentation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645582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Subtitle</a:t>
            </a:r>
            <a:endParaRPr lang="de-DE" noProof="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DF8745-2DAA-709B-6103-22DECB4EC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7328" y="6886575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Miebach Consulting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FA123AF-7D7B-C9C2-E510-CF15DB4C87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4119" y="260648"/>
            <a:ext cx="360040" cy="40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02301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chapter (Picture_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80B7E94-3BDD-3BFB-88AA-2384440F2D5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0" y="0"/>
            <a:ext cx="12192000" cy="6858000"/>
          </a:xfrm>
          <a:custGeom>
            <a:avLst/>
            <a:gdLst>
              <a:gd name="connsiteX0" fmla="*/ 12191999 w 12192000"/>
              <a:gd name="connsiteY0" fmla="*/ 4125811 h 6858000"/>
              <a:gd name="connsiteX1" fmla="*/ 2903544 w 12192000"/>
              <a:gd name="connsiteY1" fmla="*/ 6380791 h 6858000"/>
              <a:gd name="connsiteX2" fmla="*/ 3054060 w 12192000"/>
              <a:gd name="connsiteY2" fmla="*/ 6380791 h 6858000"/>
              <a:gd name="connsiteX3" fmla="*/ 3054055 w 12192000"/>
              <a:gd name="connsiteY3" fmla="*/ 6380792 h 6858000"/>
              <a:gd name="connsiteX4" fmla="*/ 12191999 w 12192000"/>
              <a:gd name="connsiteY4" fmla="*/ 6380792 h 6858000"/>
              <a:gd name="connsiteX5" fmla="*/ 12191999 w 12192000"/>
              <a:gd name="connsiteY5" fmla="*/ 6380791 h 6858000"/>
              <a:gd name="connsiteX6" fmla="*/ 12191999 w 12192000"/>
              <a:gd name="connsiteY6" fmla="*/ 4162352 h 6858000"/>
              <a:gd name="connsiteX7" fmla="*/ 11700257 w 12192000"/>
              <a:gd name="connsiteY7" fmla="*/ 337035 h 6858000"/>
              <a:gd name="connsiteX8" fmla="*/ 11657442 w 12192000"/>
              <a:gd name="connsiteY8" fmla="*/ 379851 h 6858000"/>
              <a:gd name="connsiteX9" fmla="*/ 11700257 w 12192000"/>
              <a:gd name="connsiteY9" fmla="*/ 379851 h 6858000"/>
              <a:gd name="connsiteX10" fmla="*/ 11700257 w 12192000"/>
              <a:gd name="connsiteY10" fmla="*/ 591982 h 6858000"/>
              <a:gd name="connsiteX11" fmla="*/ 11785889 w 12192000"/>
              <a:gd name="connsiteY11" fmla="*/ 571548 h 6858000"/>
              <a:gd name="connsiteX12" fmla="*/ 11785889 w 12192000"/>
              <a:gd name="connsiteY12" fmla="*/ 357470 h 6858000"/>
              <a:gd name="connsiteX13" fmla="*/ 11442391 w 12192000"/>
              <a:gd name="connsiteY13" fmla="*/ 274758 h 6858000"/>
              <a:gd name="connsiteX14" fmla="*/ 11442391 w 12192000"/>
              <a:gd name="connsiteY14" fmla="*/ 655233 h 6858000"/>
              <a:gd name="connsiteX15" fmla="*/ 11528022 w 12192000"/>
              <a:gd name="connsiteY15" fmla="*/ 634798 h 6858000"/>
              <a:gd name="connsiteX16" fmla="*/ 11528022 w 12192000"/>
              <a:gd name="connsiteY16" fmla="*/ 370120 h 6858000"/>
              <a:gd name="connsiteX17" fmla="*/ 11528022 w 12192000"/>
              <a:gd name="connsiteY17" fmla="*/ 348712 h 6858000"/>
              <a:gd name="connsiteX18" fmla="*/ 11570838 w 12192000"/>
              <a:gd name="connsiteY18" fmla="*/ 348712 h 6858000"/>
              <a:gd name="connsiteX19" fmla="*/ 11570838 w 12192000"/>
              <a:gd name="connsiteY19" fmla="*/ 623121 h 6858000"/>
              <a:gd name="connsiteX20" fmla="*/ 11656469 w 12192000"/>
              <a:gd name="connsiteY20" fmla="*/ 602686 h 6858000"/>
              <a:gd name="connsiteX21" fmla="*/ 11656469 w 12192000"/>
              <a:gd name="connsiteY21" fmla="*/ 379851 h 6858000"/>
              <a:gd name="connsiteX22" fmla="*/ 11656469 w 12192000"/>
              <a:gd name="connsiteY22" fmla="*/ 326331 h 6858000"/>
              <a:gd name="connsiteX23" fmla="*/ 11570838 w 12192000"/>
              <a:gd name="connsiteY23" fmla="*/ 305897 h 6858000"/>
              <a:gd name="connsiteX24" fmla="*/ 11528022 w 12192000"/>
              <a:gd name="connsiteY24" fmla="*/ 348712 h 6858000"/>
              <a:gd name="connsiteX25" fmla="*/ 11528022 w 12192000"/>
              <a:gd name="connsiteY25" fmla="*/ 295193 h 6858000"/>
              <a:gd name="connsiteX26" fmla="*/ 0 w 12192000"/>
              <a:gd name="connsiteY26" fmla="*/ 0 h 6858000"/>
              <a:gd name="connsiteX27" fmla="*/ 12192000 w 12192000"/>
              <a:gd name="connsiteY27" fmla="*/ 0 h 6858000"/>
              <a:gd name="connsiteX28" fmla="*/ 12192000 w 12192000"/>
              <a:gd name="connsiteY28" fmla="*/ 2816932 h 6858000"/>
              <a:gd name="connsiteX29" fmla="*/ 12192000 w 12192000"/>
              <a:gd name="connsiteY29" fmla="*/ 6380792 h 6858000"/>
              <a:gd name="connsiteX30" fmla="*/ 12192000 w 12192000"/>
              <a:gd name="connsiteY30" fmla="*/ 6668402 h 6858000"/>
              <a:gd name="connsiteX31" fmla="*/ 12192000 w 12192000"/>
              <a:gd name="connsiteY31" fmla="*/ 6858000 h 6858000"/>
              <a:gd name="connsiteX32" fmla="*/ 1919536 w 12192000"/>
              <a:gd name="connsiteY32" fmla="*/ 6858000 h 6858000"/>
              <a:gd name="connsiteX33" fmla="*/ 0 w 12192000"/>
              <a:gd name="connsiteY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2192000" h="6858000">
                <a:moveTo>
                  <a:pt x="12191999" y="4125811"/>
                </a:moveTo>
                <a:lnTo>
                  <a:pt x="2903544" y="6380791"/>
                </a:lnTo>
                <a:lnTo>
                  <a:pt x="3054060" y="6380791"/>
                </a:lnTo>
                <a:lnTo>
                  <a:pt x="3054055" y="6380792"/>
                </a:lnTo>
                <a:lnTo>
                  <a:pt x="12191999" y="6380792"/>
                </a:lnTo>
                <a:lnTo>
                  <a:pt x="12191999" y="6380791"/>
                </a:lnTo>
                <a:lnTo>
                  <a:pt x="12191999" y="4162352"/>
                </a:lnTo>
                <a:close/>
                <a:moveTo>
                  <a:pt x="11700257" y="337035"/>
                </a:moveTo>
                <a:lnTo>
                  <a:pt x="11657442" y="379851"/>
                </a:lnTo>
                <a:lnTo>
                  <a:pt x="11700257" y="379851"/>
                </a:lnTo>
                <a:lnTo>
                  <a:pt x="11700257" y="591982"/>
                </a:lnTo>
                <a:lnTo>
                  <a:pt x="11785889" y="571548"/>
                </a:lnTo>
                <a:lnTo>
                  <a:pt x="11785889" y="357470"/>
                </a:lnTo>
                <a:close/>
                <a:moveTo>
                  <a:pt x="11442391" y="274758"/>
                </a:moveTo>
                <a:lnTo>
                  <a:pt x="11442391" y="655233"/>
                </a:lnTo>
                <a:lnTo>
                  <a:pt x="11528022" y="634798"/>
                </a:lnTo>
                <a:lnTo>
                  <a:pt x="11528022" y="370120"/>
                </a:lnTo>
                <a:lnTo>
                  <a:pt x="11528022" y="348712"/>
                </a:lnTo>
                <a:lnTo>
                  <a:pt x="11570838" y="348712"/>
                </a:lnTo>
                <a:lnTo>
                  <a:pt x="11570838" y="623121"/>
                </a:lnTo>
                <a:lnTo>
                  <a:pt x="11656469" y="602686"/>
                </a:lnTo>
                <a:lnTo>
                  <a:pt x="11656469" y="379851"/>
                </a:lnTo>
                <a:lnTo>
                  <a:pt x="11656469" y="326331"/>
                </a:lnTo>
                <a:lnTo>
                  <a:pt x="11570838" y="305897"/>
                </a:lnTo>
                <a:lnTo>
                  <a:pt x="11528022" y="348712"/>
                </a:lnTo>
                <a:lnTo>
                  <a:pt x="11528022" y="2951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816932"/>
                </a:lnTo>
                <a:lnTo>
                  <a:pt x="12192000" y="6380792"/>
                </a:lnTo>
                <a:lnTo>
                  <a:pt x="12192000" y="6668402"/>
                </a:lnTo>
                <a:lnTo>
                  <a:pt x="12192000" y="6858000"/>
                </a:lnTo>
                <a:lnTo>
                  <a:pt x="1919536" y="6858000"/>
                </a:lnTo>
                <a:lnTo>
                  <a:pt x="0" y="6858000"/>
                </a:lnTo>
                <a:close/>
              </a:path>
            </a:pathLst>
          </a:custGeom>
          <a:pattFill prst="pct70">
            <a:fgClr>
              <a:srgbClr val="F9AEB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600" dirty="0"/>
            </a:lvl1pPr>
          </a:lstStyle>
          <a:p>
            <a:pPr lvl="0" algn="ctr"/>
            <a:br>
              <a:rPr lang="de-DE"/>
            </a:br>
            <a:r>
              <a:rPr lang="de-DE"/>
              <a:t>Please insert picture</a:t>
            </a:r>
          </a:p>
          <a:p>
            <a:pPr lvl="0"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4F7DCB-D0E1-6AA1-DEBD-56C45F46A0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89909" y="5152204"/>
            <a:ext cx="2092351" cy="7522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2188"/>
            <a:ext cx="10585450" cy="1225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600" kern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ClrTx/>
              <a:buFontTx/>
              <a:buNone/>
            </a:pPr>
            <a:r>
              <a:rPr lang="de-DE" noProof="0"/>
              <a:t>Enter topic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508709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Enter key message here</a:t>
            </a:r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AD9531-D649-DE3C-D323-F349088CAC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552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chapter (Dark_Teal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2188"/>
            <a:ext cx="10585450" cy="1225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600" kern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ClrTx/>
              <a:buFontTx/>
              <a:buNone/>
            </a:pPr>
            <a:r>
              <a:rPr lang="de-DE" noProof="0"/>
              <a:t>Enter topic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508709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Enter key message here</a:t>
            </a:r>
            <a:endParaRPr lang="de-DE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319CB45-FBC9-60C3-44C8-79C5AE378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4119" y="260648"/>
            <a:ext cx="360040" cy="408694"/>
          </a:xfrm>
          <a:prstGeom prst="rect">
            <a:avLst/>
          </a:prstGeom>
        </p:spPr>
      </p:pic>
      <p:sp>
        <p:nvSpPr>
          <p:cNvPr id="4" name="Rechtwinkliges Dreieck 3">
            <a:extLst>
              <a:ext uri="{FF2B5EF4-FFF2-40B4-BE49-F238E27FC236}">
                <a16:creationId xmlns:a16="http://schemas.microsoft.com/office/drawing/2014/main" id="{035F83FD-BE04-C22A-3DC0-27B83812926F}"/>
              </a:ext>
            </a:extLst>
          </p:cNvPr>
          <p:cNvSpPr/>
          <p:nvPr userDrawn="1"/>
        </p:nvSpPr>
        <p:spPr bwMode="auto">
          <a:xfrm flipH="1">
            <a:off x="2903544" y="4125811"/>
            <a:ext cx="9288455" cy="2254980"/>
          </a:xfrm>
          <a:prstGeom prst="rtTriangle">
            <a:avLst/>
          </a:prstGeom>
          <a:solidFill>
            <a:srgbClr val="FFFFFF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6A5C975-F25E-6D66-ADD1-15314E640D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9909" y="5152204"/>
            <a:ext cx="2092351" cy="7522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CFBB8B5-9FF3-C4A0-4C72-685245759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16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407988" y="2262188"/>
            <a:ext cx="10585450" cy="122555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4600" kern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ClrTx/>
              <a:buFontTx/>
              <a:buNone/>
            </a:pPr>
            <a:r>
              <a:rPr lang="de-DE" noProof="0"/>
              <a:t>Enter topic here</a:t>
            </a:r>
            <a:endParaRPr lang="de-DE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508709"/>
            <a:ext cx="6912148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4400" b="0" i="1" noProof="0" dirty="0">
                <a:solidFill>
                  <a:schemeClr val="accent6"/>
                </a:solidFill>
                <a:latin typeface="Georgia" panose="02040502050405020303" pitchFamily="18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de-DE" noProof="0"/>
              <a:t>Enter key message here</a:t>
            </a:r>
            <a:endParaRPr lang="de-DE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319CB45-FBC9-60C3-44C8-79C5AE378D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4119" y="260648"/>
            <a:ext cx="360040" cy="408694"/>
          </a:xfrm>
          <a:prstGeom prst="rect">
            <a:avLst/>
          </a:prstGeom>
        </p:spPr>
      </p:pic>
      <p:sp>
        <p:nvSpPr>
          <p:cNvPr id="4" name="Rechtwinkliges Dreieck 3">
            <a:extLst>
              <a:ext uri="{FF2B5EF4-FFF2-40B4-BE49-F238E27FC236}">
                <a16:creationId xmlns:a16="http://schemas.microsoft.com/office/drawing/2014/main" id="{035F83FD-BE04-C22A-3DC0-27B83812926F}"/>
              </a:ext>
            </a:extLst>
          </p:cNvPr>
          <p:cNvSpPr/>
          <p:nvPr userDrawn="1"/>
        </p:nvSpPr>
        <p:spPr>
          <a:xfrm flipH="1">
            <a:off x="2903544" y="4125811"/>
            <a:ext cx="9288455" cy="2254980"/>
          </a:xfrm>
          <a:prstGeom prst="rtTriangle">
            <a:avLst/>
          </a:prstGeom>
          <a:solidFill>
            <a:srgbClr val="FFFFFF"/>
          </a:solidFill>
          <a:ln w="9525" cmpd="sng">
            <a:noFill/>
            <a:prstDash val="solid"/>
          </a:ln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6A5C975-F25E-6D66-ADD1-15314E640D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9909" y="5152204"/>
            <a:ext cx="2092351" cy="7522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5D559CA-91D8-860E-1017-41FBB1BE04DE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7328" y="6886575"/>
            <a:ext cx="0" cy="0"/>
          </a:xfrm>
        </p:spPr>
        <p:txBody>
          <a:bodyPr vert="horz" wrap="none" lIns="0" tIns="0" rIns="0" bIns="0" rtlCol="0" anchor="ctr"/>
          <a:lstStyle>
            <a:lvl1pPr>
              <a:defRPr lang="en-US" sz="100" smtClean="0">
                <a:noFill/>
              </a:defRPr>
            </a:lvl1pPr>
          </a:lstStyle>
          <a:p>
            <a:r>
              <a:rPr lang="de-DE"/>
              <a:t>Miebach Consul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837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ackground (Title_Only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13778C8-15AD-AEFA-45EE-AF655DD8AE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1434119" y="260648"/>
            <a:ext cx="360040" cy="4086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BB8D07-4365-30FA-486B-590845BF59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7" y="512676"/>
            <a:ext cx="10585177" cy="792000"/>
          </a:xfrm>
        </p:spPr>
        <p:txBody>
          <a:bodyPr/>
          <a:lstStyle>
            <a:lvl1pPr>
              <a:defRPr sz="28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3" name="Navigator">
            <a:extLst>
              <a:ext uri="{FF2B5EF4-FFF2-40B4-BE49-F238E27FC236}">
                <a16:creationId xmlns:a16="http://schemas.microsoft.com/office/drawing/2014/main" id="{3C9D6381-33C9-F2EF-5CA1-09402CCFC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224644"/>
            <a:ext cx="10585177" cy="18002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4" name="Miebach Triangle White">
            <a:extLst>
              <a:ext uri="{FF2B5EF4-FFF2-40B4-BE49-F238E27FC236}">
                <a16:creationId xmlns:a16="http://schemas.microsoft.com/office/drawing/2014/main" id="{2D2C51F8-CFB8-1913-40AA-C476E8B4EE05}"/>
              </a:ext>
            </a:extLst>
          </p:cNvPr>
          <p:cNvSpPr/>
          <p:nvPr userDrawn="1"/>
        </p:nvSpPr>
        <p:spPr>
          <a:xfrm flipH="1">
            <a:off x="9300356" y="5669302"/>
            <a:ext cx="2891644" cy="711490"/>
          </a:xfrm>
          <a:prstGeom prst="rtTriangle">
            <a:avLst/>
          </a:prstGeom>
          <a:solidFill>
            <a:srgbClr val="FFFFFF"/>
          </a:solidFill>
          <a:ln w="9525" cmpd="sng">
            <a:noFill/>
            <a:prstDash val="solid"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AEA5"/>
                </a:solidFill>
                <a:prstDash val="solid"/>
              </a14:hiddenLine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4E8E4B-3E81-2CA6-94B7-CCCA5403A64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Miebach Consulting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9715F42-1EDF-683D-E89B-F6BD36E61FF3}"/>
              </a:ext>
            </a:extLst>
          </p:cNvPr>
          <p:cNvSpPr txBox="1"/>
          <p:nvPr userDrawn="1"/>
        </p:nvSpPr>
        <p:spPr bwMode="auto">
          <a:xfrm>
            <a:off x="11532605" y="6561348"/>
            <a:ext cx="252028" cy="144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 b="1">
                <a:solidFill>
                  <a:srgbClr val="161F28"/>
                </a:solidFill>
              </a:defRPr>
            </a:lvl1pPr>
          </a:lstStyle>
          <a:p>
            <a:pPr lvl="0"/>
            <a:fld id="{FAE464C4-8EE1-4086-AC4A-03C14B8960C1}" type="slidenum">
              <a:rPr lang="de-DE" smtClean="0">
                <a:solidFill>
                  <a:srgbClr val="FFFFFF"/>
                </a:solidFill>
              </a:rPr>
              <a:pPr lvl="0"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1806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ackground (Title_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2AB9789-739C-4A87-B219-3BEE0379F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5" y="512763"/>
            <a:ext cx="10585177" cy="792000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Enter 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A60F4F-33F3-90E0-9DB4-0AE97BC85F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de-DE" dirty="0"/>
          </a:p>
        </p:txBody>
      </p:sp>
      <p:sp>
        <p:nvSpPr>
          <p:cNvPr id="6" name="Navigator">
            <a:extLst>
              <a:ext uri="{FF2B5EF4-FFF2-40B4-BE49-F238E27FC236}">
                <a16:creationId xmlns:a16="http://schemas.microsoft.com/office/drawing/2014/main" id="{E949A024-F2A1-A762-23FA-18A67E57A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224644"/>
            <a:ext cx="10585177" cy="180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200" smtClean="0">
                <a:solidFill>
                  <a:srgbClr val="161F28"/>
                </a:solidFill>
              </a:defRPr>
            </a:lvl1pPr>
          </a:lstStyle>
          <a:p>
            <a:pPr lvl="0"/>
            <a:r>
              <a:rPr lang="en-US" dirty="0"/>
              <a:t>Overhead</a:t>
            </a:r>
          </a:p>
        </p:txBody>
      </p:sp>
      <p:sp>
        <p:nvSpPr>
          <p:cNvPr id="7" name="Miebach Triangle Green">
            <a:extLst>
              <a:ext uri="{FF2B5EF4-FFF2-40B4-BE49-F238E27FC236}">
                <a16:creationId xmlns:a16="http://schemas.microsoft.com/office/drawing/2014/main" id="{2ADEFEB4-12CE-415A-7B6A-5F209790C653}"/>
              </a:ext>
            </a:extLst>
          </p:cNvPr>
          <p:cNvSpPr/>
          <p:nvPr userDrawn="1"/>
        </p:nvSpPr>
        <p:spPr>
          <a:xfrm flipH="1">
            <a:off x="9300356" y="5669302"/>
            <a:ext cx="2891644" cy="711490"/>
          </a:xfrm>
          <a:prstGeom prst="rtTriangle">
            <a:avLst/>
          </a:prstGeom>
          <a:solidFill>
            <a:schemeClr val="accent1"/>
          </a:solidFill>
          <a:ln w="9525" cmpd="sng">
            <a:noFill/>
            <a:prstDash val="solid"/>
          </a:ln>
          <a:extLst>
            <a:ext uri="{91240B29-F687-4F45-9708-019B960494DF}">
              <a14:hiddenLine xmlns:a14="http://schemas.microsoft.com/office/drawing/2010/main" w="9525" cmpd="sng">
                <a:solidFill>
                  <a:srgbClr val="00AEA5"/>
                </a:solidFill>
                <a:prstDash val="solid"/>
              </a14:hiddenLine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1282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i="0" u="none" strike="noStrike" cap="none" normalizeH="0" baseline="0" dirty="0" err="1">
              <a:ln>
                <a:noFill/>
              </a:ln>
              <a:solidFill>
                <a:srgbClr val="464646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79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ackground (No_Triang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2AB9789-739C-4A87-B219-3BEE0379F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5" y="512763"/>
            <a:ext cx="10585177" cy="792000"/>
          </a:xfrm>
        </p:spPr>
        <p:txBody>
          <a:bodyPr/>
          <a:lstStyle>
            <a:lvl1pPr>
              <a:defRPr>
                <a:solidFill>
                  <a:srgbClr val="161F28"/>
                </a:solidFill>
              </a:defRPr>
            </a:lvl1pPr>
          </a:lstStyle>
          <a:p>
            <a:r>
              <a:rPr lang="de-DE" dirty="0"/>
              <a:t>Enter 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A60F4F-33F3-90E0-9DB4-0AE97BC85F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de-DE" dirty="0"/>
          </a:p>
        </p:txBody>
      </p:sp>
      <p:sp>
        <p:nvSpPr>
          <p:cNvPr id="4" name="Navigator">
            <a:extLst>
              <a:ext uri="{FF2B5EF4-FFF2-40B4-BE49-F238E27FC236}">
                <a16:creationId xmlns:a16="http://schemas.microsoft.com/office/drawing/2014/main" id="{40C56C58-F21A-C38D-8DA6-7C70E5F4FC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224644"/>
            <a:ext cx="10585177" cy="180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DB234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200" smtClean="0">
                <a:solidFill>
                  <a:srgbClr val="161F28"/>
                </a:solidFill>
              </a:defRPr>
            </a:lvl1pPr>
          </a:lstStyle>
          <a:p>
            <a:pPr lvl="0"/>
            <a:r>
              <a:rPr lang="en-US" dirty="0"/>
              <a:t>Overhead</a:t>
            </a:r>
          </a:p>
        </p:txBody>
      </p:sp>
    </p:spTree>
    <p:extLst>
      <p:ext uri="{BB962C8B-B14F-4D97-AF65-F5344CB8AC3E}">
        <p14:creationId xmlns:p14="http://schemas.microsoft.com/office/powerpoint/2010/main" val="68149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8E32B14-AA1D-4EB6-0C37-6989AB2CF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17332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84" imgH="486" progId="TCLayout.ActiveDocument.1">
                  <p:embed/>
                </p:oleObj>
              </mc:Choice>
              <mc:Fallback>
                <p:oleObj name="think-cell Slide" r:id="rId25" imgW="484" imgH="48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8E32B14-AA1D-4EB6-0C37-6989AB2CF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Header"/>
          <p:cNvSpPr>
            <a:spLocks noGrp="1" noChangeArrowheads="1"/>
          </p:cNvSpPr>
          <p:nvPr>
            <p:ph type="title"/>
          </p:nvPr>
        </p:nvSpPr>
        <p:spPr bwMode="auto">
          <a:xfrm>
            <a:off x="407367" y="512676"/>
            <a:ext cx="10585177" cy="792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noProof="0"/>
              <a:t>Enter Headline</a:t>
            </a:r>
            <a:endParaRPr lang="de-DE" noProof="0" dirty="0"/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BA084F73-3081-47DE-8812-2BF19EBD47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592" y="6561348"/>
            <a:ext cx="0" cy="14401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lang="de-DE" sz="800" smtClean="0">
                <a:solidFill>
                  <a:srgbClr val="161F28"/>
                </a:solidFill>
              </a:defRPr>
            </a:lvl1pPr>
          </a:lstStyle>
          <a:p>
            <a:r>
              <a:rPr lang="en-US"/>
              <a:t>Miebach Consulting</a:t>
            </a:r>
            <a:endParaRPr lang="en-US" dirty="0"/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24C8D438-68D7-479A-B35A-A4560AD0AF80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 bwMode="black">
          <a:xfrm>
            <a:off x="11434119" y="260648"/>
            <a:ext cx="360040" cy="408694"/>
          </a:xfrm>
          <a:prstGeom prst="rect">
            <a:avLst/>
          </a:prstGeom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FC2B1E98-8F96-0F5B-E939-7B663BE728BE}"/>
              </a:ext>
            </a:extLst>
          </p:cNvPr>
          <p:cNvSpPr txBox="1"/>
          <p:nvPr userDrawn="1"/>
        </p:nvSpPr>
        <p:spPr bwMode="auto">
          <a:xfrm>
            <a:off x="11532605" y="6561348"/>
            <a:ext cx="252028" cy="144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algn="r">
              <a:defRPr sz="900" b="1">
                <a:solidFill>
                  <a:srgbClr val="161F28"/>
                </a:solidFill>
              </a:defRPr>
            </a:lvl1pPr>
          </a:lstStyle>
          <a:p>
            <a:pPr lvl="0"/>
            <a:fld id="{FAE464C4-8EE1-4086-AC4A-03C14B8960C1}" type="slidenum">
              <a:rPr lang="de-DE" smtClean="0"/>
              <a:pPr lvl="0"/>
              <a:t>‹#›</a:t>
            </a:fld>
            <a:endParaRPr lang="de-DE"/>
          </a:p>
        </p:txBody>
      </p:sp>
      <p:sp>
        <p:nvSpPr>
          <p:cNvPr id="3" name="Content">
            <a:extLst>
              <a:ext uri="{FF2B5EF4-FFF2-40B4-BE49-F238E27FC236}">
                <a16:creationId xmlns:a16="http://schemas.microsoft.com/office/drawing/2014/main" id="{D2A9B064-0DF0-6AE9-9E30-ADA5C59409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367" y="1556792"/>
            <a:ext cx="1137726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2200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883" r:id="rId4"/>
    <p:sldLayoutId id="2147483888" r:id="rId5"/>
    <p:sldLayoutId id="2147483889" r:id="rId6"/>
    <p:sldLayoutId id="2147483879" r:id="rId7"/>
    <p:sldLayoutId id="2147483871" r:id="rId8"/>
    <p:sldLayoutId id="2147483895" r:id="rId9"/>
    <p:sldLayoutId id="2147483893" r:id="rId10"/>
    <p:sldLayoutId id="2147483878" r:id="rId11"/>
    <p:sldLayoutId id="2147483899" r:id="rId12"/>
    <p:sldLayoutId id="2147483897" r:id="rId13"/>
    <p:sldLayoutId id="2147483890" r:id="rId14"/>
    <p:sldLayoutId id="2147483891" r:id="rId15"/>
    <p:sldLayoutId id="2147483881" r:id="rId16"/>
    <p:sldLayoutId id="2147483886" r:id="rId17"/>
    <p:sldLayoutId id="2147483892" r:id="rId18"/>
    <p:sldLayoutId id="2147483887" r:id="rId19"/>
    <p:sldLayoutId id="2147483900" r:id="rId20"/>
    <p:sldLayoutId id="2147483902" r:id="rId21"/>
    <p:sldLayoutId id="2147483901" r:id="rId22"/>
  </p:sldLayoutIdLst>
  <p:transition/>
  <p:hf sldNum="0" hdr="0" dt="0"/>
  <p:txStyles>
    <p:titleStyle>
      <a:lvl1pPr algn="l" defTabSz="1257636" rtl="0" eaLnBrk="1" fontAlgn="base" hangingPunct="1">
        <a:lnSpc>
          <a:spcPct val="92000"/>
        </a:lnSpc>
        <a:spcBef>
          <a:spcPct val="0"/>
        </a:spcBef>
        <a:spcAft>
          <a:spcPct val="0"/>
        </a:spcAft>
        <a:defRPr lang="de-DE" sz="2800" b="0" noProof="0" dirty="0">
          <a:solidFill>
            <a:srgbClr val="161F28"/>
          </a:solidFill>
          <a:latin typeface="+mj-lt"/>
          <a:ea typeface="+mj-ea"/>
          <a:cs typeface="+mj-cs"/>
        </a:defRPr>
      </a:lvl1pPr>
      <a:lvl2pPr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2pPr>
      <a:lvl3pPr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3pPr>
      <a:lvl4pPr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4pPr>
      <a:lvl5pPr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5pPr>
      <a:lvl6pPr marL="588940"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6pPr>
      <a:lvl7pPr marL="1177884"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7pPr>
      <a:lvl8pPr marL="1766825"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8pPr>
      <a:lvl9pPr marL="2355766" algn="l" defTabSz="1257636" rtl="0" eaLnBrk="1" fontAlgn="base" hangingPunct="1">
        <a:spcBef>
          <a:spcPct val="0"/>
        </a:spcBef>
        <a:spcAft>
          <a:spcPct val="0"/>
        </a:spcAft>
        <a:defRPr sz="3724">
          <a:solidFill>
            <a:schemeClr val="tx2"/>
          </a:solidFill>
          <a:latin typeface="Arial" charset="0"/>
        </a:defRPr>
      </a:lvl9pPr>
    </p:titleStyle>
    <p:bodyStyle>
      <a:lvl1pPr marL="0" indent="0" algn="l" defTabSz="664605" rtl="0" eaLnBrk="1" fontAlgn="base" hangingPunct="1">
        <a:spcBef>
          <a:spcPts val="600"/>
        </a:spcBef>
        <a:spcAft>
          <a:spcPts val="0"/>
        </a:spcAft>
        <a:buClrTx/>
        <a:buFontTx/>
        <a:buNone/>
        <a:defRPr lang="de-DE" sz="1600" b="0" kern="0" noProof="0" smtClean="0">
          <a:solidFill>
            <a:srgbClr val="161F28"/>
          </a:solidFill>
          <a:latin typeface="+mn-lt"/>
          <a:ea typeface="+mn-ea"/>
          <a:cs typeface="+mn-cs"/>
        </a:defRPr>
      </a:lvl1pPr>
      <a:lvl2pPr marL="180000" indent="-180000" algn="l" defTabSz="664605" rtl="0" eaLnBrk="1" fontAlgn="base" hangingPunct="1">
        <a:spcBef>
          <a:spcPts val="600"/>
        </a:spcBef>
        <a:spcAft>
          <a:spcPts val="0"/>
        </a:spcAft>
        <a:buClrTx/>
        <a:buFont typeface="Arial" panose="020B0604020202020204" pitchFamily="34" charset="0"/>
        <a:buChar char="•"/>
        <a:defRPr lang="de-DE" sz="1600" kern="0" noProof="0" smtClean="0">
          <a:solidFill>
            <a:srgbClr val="161F28"/>
          </a:solidFill>
          <a:latin typeface="+mn-lt"/>
          <a:ea typeface="+mn-ea"/>
          <a:cs typeface="+mn-cs"/>
        </a:defRPr>
      </a:lvl2pPr>
      <a:lvl3pPr marL="360000" indent="-180000" algn="l" defTabSz="664605" rtl="0" eaLnBrk="1" fontAlgn="base" hangingPunct="1">
        <a:spcBef>
          <a:spcPts val="600"/>
        </a:spcBef>
        <a:spcAft>
          <a:spcPts val="0"/>
        </a:spcAft>
        <a:buSzPct val="100000"/>
        <a:buFont typeface="Symbol" panose="05050102010706020507" pitchFamily="18" charset="2"/>
        <a:buChar char="-"/>
        <a:tabLst/>
        <a:defRPr lang="de-DE" sz="1600" kern="0" noProof="0" smtClean="0">
          <a:solidFill>
            <a:srgbClr val="161F28"/>
          </a:solidFill>
          <a:latin typeface="+mn-lt"/>
          <a:ea typeface="+mn-ea"/>
          <a:cs typeface="+mn-cs"/>
        </a:defRPr>
      </a:lvl3pPr>
      <a:lvl4pPr marL="540000" indent="-180975" algn="l" defTabSz="664605" rtl="0" eaLnBrk="1" fontAlgn="base" hangingPunct="1">
        <a:spcBef>
          <a:spcPts val="600"/>
        </a:spcBef>
        <a:spcAft>
          <a:spcPts val="0"/>
        </a:spcAft>
        <a:buFont typeface="Symbol" panose="05050102010706020507" pitchFamily="18" charset="2"/>
        <a:buChar char="-"/>
        <a:tabLst/>
        <a:defRPr lang="de-DE" sz="1600" kern="0" noProof="0" dirty="0">
          <a:solidFill>
            <a:srgbClr val="161F28"/>
          </a:solidFill>
          <a:latin typeface="+mn-lt"/>
          <a:ea typeface="+mn-ea"/>
          <a:cs typeface="+mn-cs"/>
        </a:defRPr>
      </a:lvl4pPr>
      <a:lvl5pPr marL="720000" indent="-180975" algn="l" defTabSz="664605" rtl="0" eaLnBrk="1" fontAlgn="base" hangingPunct="1">
        <a:spcBef>
          <a:spcPts val="600"/>
        </a:spcBef>
        <a:spcAft>
          <a:spcPts val="0"/>
        </a:spcAft>
        <a:buSzPct val="100000"/>
        <a:buFont typeface="Symbol" pitchFamily="2" charset="2"/>
        <a:buChar char="-"/>
        <a:tabLst/>
        <a:defRPr lang="de-DE" sz="1600" kern="1200" baseline="0" noProof="0" smtClean="0">
          <a:solidFill>
            <a:srgbClr val="161F28"/>
          </a:solidFill>
          <a:latin typeface="+mn-lt"/>
          <a:ea typeface="+mn-ea"/>
          <a:cs typeface="+mn-cs"/>
        </a:defRPr>
      </a:lvl5pPr>
      <a:lvl6pPr marL="900000" indent="-180000" algn="l" defTabSz="664605" rtl="0" eaLnBrk="1" fontAlgn="base" hangingPunct="1">
        <a:spcBef>
          <a:spcPts val="600"/>
        </a:spcBef>
        <a:spcAft>
          <a:spcPts val="0"/>
        </a:spcAft>
        <a:buSzPct val="100000"/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+mn-lt"/>
        </a:defRPr>
      </a:lvl6pPr>
      <a:lvl7pPr marL="2916080" indent="9478284" algn="l" defTabSz="664605" rtl="0" eaLnBrk="1" fontAlgn="base" hangingPunct="1">
        <a:spcBef>
          <a:spcPts val="0"/>
        </a:spcBef>
        <a:spcAft>
          <a:spcPts val="1030"/>
        </a:spcAft>
        <a:buSzPct val="60000"/>
        <a:buFont typeface="Wingdings" pitchFamily="2" charset="2"/>
        <a:buChar char="n"/>
        <a:defRPr sz="1746">
          <a:solidFill>
            <a:schemeClr val="tx1"/>
          </a:solidFill>
          <a:latin typeface="+mn-lt"/>
        </a:defRPr>
      </a:lvl7pPr>
      <a:lvl8pPr marL="3505022" indent="9478284" algn="l" defTabSz="664605" rtl="0" eaLnBrk="1" fontAlgn="base" hangingPunct="1">
        <a:spcBef>
          <a:spcPts val="0"/>
        </a:spcBef>
        <a:spcAft>
          <a:spcPts val="1030"/>
        </a:spcAft>
        <a:buSzPct val="60000"/>
        <a:buFont typeface="Wingdings" pitchFamily="2" charset="2"/>
        <a:buChar char="n"/>
        <a:defRPr sz="1746">
          <a:solidFill>
            <a:schemeClr val="tx1"/>
          </a:solidFill>
          <a:latin typeface="+mn-lt"/>
        </a:defRPr>
      </a:lvl8pPr>
      <a:lvl9pPr marL="4093964" indent="9478284" algn="l" defTabSz="664605" rtl="0" eaLnBrk="1" fontAlgn="base" hangingPunct="1">
        <a:spcBef>
          <a:spcPts val="0"/>
        </a:spcBef>
        <a:spcAft>
          <a:spcPts val="1030"/>
        </a:spcAft>
        <a:buSzPct val="60000"/>
        <a:buFont typeface="Wingdings" pitchFamily="2" charset="2"/>
        <a:buChar char="n"/>
        <a:defRPr sz="1746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1pPr>
      <a:lvl2pPr marL="588940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2pPr>
      <a:lvl3pPr marL="1177884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3pPr>
      <a:lvl4pPr marL="1766825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4pPr>
      <a:lvl5pPr marL="2355766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5pPr>
      <a:lvl6pPr marL="2944709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6pPr>
      <a:lvl7pPr marL="3533652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7pPr>
      <a:lvl8pPr marL="4122596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8pPr>
      <a:lvl9pPr marL="4711536" algn="l" defTabSz="1177884" rtl="0" eaLnBrk="1" latinLnBrk="0" hangingPunct="1">
        <a:defRPr sz="24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7423" userDrawn="1">
          <p15:clr>
            <a:srgbClr val="F26B43"/>
          </p15:clr>
        </p15:guide>
        <p15:guide id="13" pos="257" userDrawn="1">
          <p15:clr>
            <a:srgbClr val="F26B43"/>
          </p15:clr>
        </p15:guide>
        <p15:guide id="16" orient="horz" pos="323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822" userDrawn="1">
          <p15:clr>
            <a:srgbClr val="F26B43"/>
          </p15:clr>
        </p15:guide>
        <p15:guide id="19" orient="horz" pos="9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9.jpg"/><Relationship Id="rId5" Type="http://schemas.openxmlformats.org/officeDocument/2006/relationships/tags" Target="../tags/tag7.xml"/><Relationship Id="rId10" Type="http://schemas.openxmlformats.org/officeDocument/2006/relationships/image" Target="../media/image8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BDE5F9-433A-00FB-474C-1FABE5CCDE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64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01" imgH="502" progId="TCLayout.ActiveDocument.1">
                  <p:embed/>
                </p:oleObj>
              </mc:Choice>
              <mc:Fallback>
                <p:oleObj name="think-cell Slide" r:id="rId9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BDE5F9-433A-00FB-474C-1FABE5CCD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797522CA-E23B-4729-9CD2-CF6B6613D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7628" y="340430"/>
            <a:ext cx="8244000" cy="792000"/>
          </a:xfrm>
        </p:spPr>
        <p:txBody>
          <a:bodyPr vert="horz"/>
          <a:lstStyle/>
          <a:p>
            <a:r>
              <a:rPr lang="en-US" dirty="0"/>
              <a:t>Qing YE</a:t>
            </a:r>
            <a:br>
              <a:rPr lang="en-US" dirty="0"/>
            </a:br>
            <a:r>
              <a:rPr lang="en-US" dirty="0"/>
              <a:t>Analyst, Montréal</a:t>
            </a:r>
          </a:p>
        </p:txBody>
      </p:sp>
      <p:sp>
        <p:nvSpPr>
          <p:cNvPr id="20" name="CV_1">
            <a:extLst>
              <a:ext uri="{FF2B5EF4-FFF2-40B4-BE49-F238E27FC236}">
                <a16:creationId xmlns:a16="http://schemas.microsoft.com/office/drawing/2014/main" id="{5EB885A7-65F4-45F4-B7DB-AAFE68D23B8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07368" y="2780929"/>
            <a:ext cx="1692188" cy="360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marL="0" lvl="0" indent="0" defTabSz="664605" eaLnBrk="1" hangingPunct="1"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1" kern="0">
                <a:solidFill>
                  <a:srgbClr val="00E1B6"/>
                </a:solidFill>
                <a:latin typeface="+mn-lt"/>
              </a:defRPr>
            </a:lvl1pPr>
            <a:lvl2pPr marL="1587" lvl="1" indent="0" defTabSz="664605" eaLnBrk="1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1400" b="0" kern="0">
                <a:solidFill>
                  <a:srgbClr val="00E1B6"/>
                </a:solidFill>
                <a:latin typeface="+mn-lt"/>
              </a:defRPr>
            </a:lvl2pPr>
            <a:lvl3pPr marL="180000" lvl="2" indent="-18000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/>
              <a:defRPr sz="1400" b="0" kern="0">
                <a:solidFill>
                  <a:srgbClr val="00E1B6"/>
                </a:solidFill>
                <a:latin typeface="+mn-lt"/>
              </a:defRPr>
            </a:lvl3pPr>
            <a:lvl4pPr marL="360000" lvl="3" indent="-180975" defTabSz="664605" eaLnBrk="1" hangingPunct="1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400" b="0" kern="0">
                <a:solidFill>
                  <a:srgbClr val="00E1B6"/>
                </a:solidFill>
                <a:latin typeface="+mn-lt"/>
              </a:defRPr>
            </a:lvl4pPr>
            <a:lvl5pPr marL="540000" lvl="4" indent="-180975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Symbol" pitchFamily="2" charset="2"/>
              <a:buChar char="-"/>
              <a:tabLst/>
              <a:defRPr sz="1400" b="0" baseline="0">
                <a:solidFill>
                  <a:srgbClr val="00E1B6"/>
                </a:solidFill>
                <a:latin typeface="+mn-lt"/>
              </a:defRPr>
            </a:lvl5pPr>
            <a:lvl6pPr marL="900000" indent="-180000" defTabSz="664605" fontAlgn="base">
              <a:spcBef>
                <a:spcPts val="600"/>
              </a:spcBef>
              <a:spcAft>
                <a:spcPts val="0"/>
              </a:spcAft>
              <a:buSzPct val="100000"/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  <a:lvl7pPr marL="2916080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7pPr>
            <a:lvl8pPr marL="3505022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8pPr>
            <a:lvl9pPr marL="4093964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9pPr>
          </a:lstStyle>
          <a:p>
            <a:r>
              <a:rPr lang="en-US" dirty="0"/>
              <a:t>Executive Summary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Analyst since 2021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Specialized in Digitalization &amp; Data Science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Fluent in English, Mandarin</a:t>
            </a:r>
          </a:p>
        </p:txBody>
      </p:sp>
      <p:sp>
        <p:nvSpPr>
          <p:cNvPr id="22" name="CV_2">
            <a:extLst>
              <a:ext uri="{FF2B5EF4-FFF2-40B4-BE49-F238E27FC236}">
                <a16:creationId xmlns:a16="http://schemas.microsoft.com/office/drawing/2014/main" id="{9CF70A12-AAA3-4DE2-9A5F-5E5B7C9F37E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761057" y="1304765"/>
            <a:ext cx="4032448" cy="295232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indent="0" defTabSz="664605" eaLnBrk="1" hangingPunct="1"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1" kern="0">
                <a:solidFill>
                  <a:srgbClr val="00AEA5"/>
                </a:solidFill>
                <a:latin typeface="+mn-lt"/>
              </a:defRPr>
            </a:lvl1pPr>
            <a:lvl2pPr marL="1587" lvl="1" indent="0" defTabSz="664605" eaLnBrk="1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1400" b="0" kern="0">
                <a:solidFill>
                  <a:srgbClr val="161F28"/>
                </a:solidFill>
                <a:latin typeface="+mn-lt"/>
              </a:defRPr>
            </a:lvl2pPr>
            <a:lvl3pPr marL="180000" lvl="2" indent="-18000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/>
              <a:defRPr sz="1400" b="0" kern="0">
                <a:solidFill>
                  <a:srgbClr val="161F28"/>
                </a:solidFill>
                <a:latin typeface="+mn-lt"/>
              </a:defRPr>
            </a:lvl3pPr>
            <a:lvl4pPr marL="177800" lvl="3" indent="0" defTabSz="664605" eaLnBrk="1" hangingPunct="1">
              <a:spcBef>
                <a:spcPts val="300"/>
              </a:spcBef>
              <a:spcAft>
                <a:spcPts val="0"/>
              </a:spcAft>
              <a:buFontTx/>
              <a:buNone/>
              <a:tabLst/>
              <a:defRPr sz="1400" b="0" kern="0">
                <a:solidFill>
                  <a:srgbClr val="161F28"/>
                </a:solidFill>
                <a:latin typeface="+mn-lt"/>
              </a:defRPr>
            </a:lvl4pPr>
            <a:lvl5pPr marL="361950" lvl="4" indent="-18415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Symbol" pitchFamily="2" charset="2"/>
              <a:buChar char="-"/>
              <a:tabLst/>
              <a:defRPr sz="1400" b="0" baseline="0">
                <a:solidFill>
                  <a:srgbClr val="161F28"/>
                </a:solidFill>
                <a:latin typeface="+mn-lt"/>
              </a:defRPr>
            </a:lvl5pPr>
            <a:lvl6pPr marL="900000" indent="-180000" defTabSz="664605" fontAlgn="base">
              <a:spcBef>
                <a:spcPts val="600"/>
              </a:spcBef>
              <a:spcAft>
                <a:spcPts val="0"/>
              </a:spcAft>
              <a:buSzPct val="100000"/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  <a:lvl7pPr marL="2916080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7pPr>
            <a:lvl8pPr marL="3505022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8pPr>
            <a:lvl9pPr marL="4093964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9pPr>
          </a:lstStyle>
          <a:p>
            <a:r>
              <a:rPr lang="en-US" dirty="0"/>
              <a:t>Education &amp; Experience</a:t>
            </a:r>
          </a:p>
          <a:p>
            <a:pPr marL="180000" lvl="2" indent="-180000">
              <a:buSzTx/>
              <a:buFont typeface="Arial" charset="0"/>
              <a:buChar char="•"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.S. Computer Science, ENCS Concordia, Montreal, CAN</a:t>
            </a:r>
          </a:p>
          <a:p>
            <a:pPr marL="180000" lvl="2" indent="-180000">
              <a:buSzTx/>
              <a:buFont typeface="Arial" charset="0"/>
              <a:buChar char="•"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.E. Mathematics, Northeast University, Shenyang, CN</a:t>
            </a:r>
          </a:p>
          <a:p>
            <a:pPr marL="180000" lvl="2" indent="-180000" defTabSz="538163"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</a:rPr>
              <a:t>2021 - Present Analyst in Miebach Consulting</a:t>
            </a:r>
          </a:p>
        </p:txBody>
      </p:sp>
      <p:sp>
        <p:nvSpPr>
          <p:cNvPr id="13" name="CV_3">
            <a:extLst>
              <a:ext uri="{FF2B5EF4-FFF2-40B4-BE49-F238E27FC236}">
                <a16:creationId xmlns:a16="http://schemas.microsoft.com/office/drawing/2014/main" id="{7949C454-85D4-48F1-ACA2-768F37B1BAB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752963" y="3032957"/>
            <a:ext cx="4607283" cy="3096344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indent="0" defTabSz="664605" eaLnBrk="1" hangingPunct="1"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1" kern="0">
                <a:solidFill>
                  <a:srgbClr val="00AEA5"/>
                </a:solidFill>
                <a:latin typeface="+mn-lt"/>
              </a:defRPr>
            </a:lvl1pPr>
            <a:lvl2pPr marL="1587" lvl="1" indent="0" defTabSz="664605" eaLnBrk="1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1400" b="0" kern="0">
                <a:solidFill>
                  <a:srgbClr val="161F28"/>
                </a:solidFill>
                <a:latin typeface="+mn-lt"/>
              </a:defRPr>
            </a:lvl2pPr>
            <a:lvl3pPr marL="180000" lvl="2" indent="-18000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/>
              <a:defRPr sz="1400" b="0" kern="0">
                <a:solidFill>
                  <a:srgbClr val="161F28"/>
                </a:solidFill>
                <a:latin typeface="+mn-lt"/>
              </a:defRPr>
            </a:lvl3pPr>
            <a:lvl4pPr marL="177800" lvl="3" indent="0" defTabSz="664605" eaLnBrk="1" hangingPunct="1">
              <a:spcBef>
                <a:spcPts val="300"/>
              </a:spcBef>
              <a:spcAft>
                <a:spcPts val="0"/>
              </a:spcAft>
              <a:buFontTx/>
              <a:buNone/>
              <a:tabLst/>
              <a:defRPr sz="1400" b="0" kern="0">
                <a:solidFill>
                  <a:srgbClr val="161F28"/>
                </a:solidFill>
                <a:latin typeface="+mn-lt"/>
              </a:defRPr>
            </a:lvl4pPr>
            <a:lvl5pPr marL="361950" lvl="4" indent="-18415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Symbol" pitchFamily="2" charset="2"/>
              <a:buChar char="-"/>
              <a:tabLst/>
              <a:defRPr sz="1400" b="0" baseline="0">
                <a:solidFill>
                  <a:srgbClr val="161F28"/>
                </a:solidFill>
                <a:latin typeface="+mn-lt"/>
              </a:defRPr>
            </a:lvl5pPr>
            <a:lvl6pPr marL="900000" indent="-180000" defTabSz="664605" fontAlgn="base">
              <a:spcBef>
                <a:spcPts val="600"/>
              </a:spcBef>
              <a:spcAft>
                <a:spcPts val="0"/>
              </a:spcAft>
              <a:buSzPct val="100000"/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  <a:lvl7pPr marL="2916080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7pPr>
            <a:lvl8pPr marL="3505022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8pPr>
            <a:lvl9pPr marL="4093964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9pPr>
          </a:lstStyle>
          <a:p>
            <a:r>
              <a:rPr lang="en-US" dirty="0"/>
              <a:t>Expertise</a:t>
            </a:r>
          </a:p>
          <a:p>
            <a:pPr marL="180000" lvl="2" indent="-1800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ta Analysis &amp; Machine learning</a:t>
            </a:r>
          </a:p>
          <a:p>
            <a:pPr lvl="4">
              <a:spcBef>
                <a:spcPts val="300"/>
              </a:spcBef>
              <a:defRPr/>
            </a:pPr>
            <a:r>
              <a:rPr lang="en-US" altLang="zh-CN" kern="0" dirty="0">
                <a:latin typeface="Arial" panose="020B0604020202020204" pitchFamily="34" charset="0"/>
              </a:rPr>
              <a:t>Machine Learning: Supervised learning, Unsupervised learning, Feature processing</a:t>
            </a:r>
          </a:p>
          <a:p>
            <a:pPr lvl="4">
              <a:spcBef>
                <a:spcPts val="300"/>
              </a:spcBef>
              <a:defRPr/>
            </a:pPr>
            <a:r>
              <a:rPr lang="en-US" altLang="zh-CN" kern="0" dirty="0">
                <a:latin typeface="Arial" panose="020B0604020202020204" pitchFamily="34" charset="0"/>
              </a:rPr>
              <a:t>Modeling: Artificial neural networks, </a:t>
            </a:r>
            <a:r>
              <a:rPr lang="en-US" altLang="zh-CN" kern="0">
                <a:latin typeface="Arial" panose="020B0604020202020204" pitchFamily="34" charset="0"/>
              </a:rPr>
              <a:t>Logistic regression, Nearest neighbor algorithm, Clustering</a:t>
            </a:r>
            <a:endParaRPr lang="en-US" altLang="zh-CN" kern="0" dirty="0">
              <a:latin typeface="Arial" panose="020B0604020202020204" pitchFamily="34" charset="0"/>
            </a:endParaRPr>
          </a:p>
          <a:p>
            <a:pPr lvl="4">
              <a:spcBef>
                <a:spcPts val="300"/>
              </a:spcBef>
              <a:defRPr/>
            </a:pPr>
            <a:r>
              <a:rPr lang="en-US" altLang="zh-CN" kern="0" dirty="0">
                <a:latin typeface="Arial" panose="020B0604020202020204" pitchFamily="34" charset="0"/>
              </a:rPr>
              <a:t>Statistics: Hypothesis testing theory, Bayesian theor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61F2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80000" lvl="2" indent="-1800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gramming Languages &amp; Coding Skill</a:t>
            </a:r>
          </a:p>
          <a:p>
            <a:pPr lvl="4">
              <a:spcBef>
                <a:spcPts val="300"/>
              </a:spcBef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ython, JavaScript, Java</a:t>
            </a:r>
          </a:p>
          <a:p>
            <a:pPr lvl="4">
              <a:spcBef>
                <a:spcPts val="300"/>
              </a:spcBef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ta Structure, Algorithm, Design Pattern, System Design</a:t>
            </a:r>
          </a:p>
          <a:p>
            <a:pPr marL="180000" lvl="2" indent="-18000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61F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ull-Stack Web Development </a:t>
            </a:r>
          </a:p>
          <a:p>
            <a:pPr lvl="4">
              <a:spcBef>
                <a:spcPts val="300"/>
              </a:spcBef>
              <a:defRPr/>
            </a:pPr>
            <a:r>
              <a:rPr lang="en-US" dirty="0">
                <a:latin typeface="Arial" panose="020B0604020202020204" pitchFamily="34" charset="0"/>
              </a:rPr>
              <a:t>Front-End: HTML, CSS, JavaScript, React, Redux</a:t>
            </a:r>
          </a:p>
          <a:p>
            <a:pPr lvl="4">
              <a:spcBef>
                <a:spcPts val="300"/>
              </a:spcBef>
              <a:defRPr/>
            </a:pPr>
            <a:r>
              <a:rPr lang="en-US" dirty="0">
                <a:latin typeface="Arial" panose="020B0604020202020204" pitchFamily="34" charset="0"/>
              </a:rPr>
              <a:t>Back-End: Python, Django</a:t>
            </a:r>
          </a:p>
          <a:p>
            <a:pPr lvl="4">
              <a:spcBef>
                <a:spcPts val="300"/>
              </a:spcBef>
              <a:defRPr/>
            </a:pPr>
            <a:r>
              <a:rPr lang="en-US" dirty="0">
                <a:latin typeface="Arial" panose="020B0604020202020204" pitchFamily="34" charset="0"/>
              </a:rPr>
              <a:t>Database: SQL, Azure blo</a:t>
            </a:r>
            <a:r>
              <a:rPr lang="en-US" altLang="zh-CN" dirty="0">
                <a:latin typeface="Arial" panose="020B0604020202020204" pitchFamily="34" charset="0"/>
              </a:rPr>
              <a:t>b</a:t>
            </a:r>
            <a:r>
              <a:rPr lang="en-US" dirty="0">
                <a:latin typeface="Arial" panose="020B0604020202020204" pitchFamily="34" charset="0"/>
              </a:rPr>
              <a:t> storage</a:t>
            </a:r>
            <a:endParaRPr kumimoji="0" lang="en-US" u="none" strike="noStrike" kern="0" cap="none" spc="0" normalizeH="0" baseline="0" noProof="0" dirty="0">
              <a:ln>
                <a:noFill/>
              </a:ln>
              <a:solidFill>
                <a:srgbClr val="161F2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4">
              <a:spcBef>
                <a:spcPts val="300"/>
              </a:spcBef>
              <a:defRPr/>
            </a:pPr>
            <a:endParaRPr kumimoji="0" lang="en-US" i="0" u="none" strike="noStrike" kern="0" cap="none" spc="0" normalizeH="0" baseline="0" noProof="0" dirty="0">
              <a:ln>
                <a:noFill/>
              </a:ln>
              <a:solidFill>
                <a:srgbClr val="161F2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CV_4">
            <a:extLst>
              <a:ext uri="{FF2B5EF4-FFF2-40B4-BE49-F238E27FC236}">
                <a16:creationId xmlns:a16="http://schemas.microsoft.com/office/drawing/2014/main" id="{20E19629-87A1-4AC3-A88E-05EDFE0752F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384019" y="1304765"/>
            <a:ext cx="4500500" cy="4824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de-DE"/>
            </a:defPPr>
            <a:lvl1pPr marL="0" indent="0" defTabSz="664605" eaLnBrk="1" hangingPunct="1">
              <a:spcBef>
                <a:spcPts val="1800"/>
              </a:spcBef>
              <a:spcAft>
                <a:spcPts val="0"/>
              </a:spcAft>
              <a:buClrTx/>
              <a:buFontTx/>
              <a:buNone/>
              <a:defRPr sz="1400" b="1" kern="0">
                <a:solidFill>
                  <a:srgbClr val="00AEA5"/>
                </a:solidFill>
                <a:latin typeface="+mn-lt"/>
              </a:defRPr>
            </a:lvl1pPr>
            <a:lvl2pPr marL="1587" lvl="1" indent="0" defTabSz="664605" eaLnBrk="1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1400" b="0" kern="0">
                <a:solidFill>
                  <a:srgbClr val="161F28"/>
                </a:solidFill>
                <a:latin typeface="+mn-lt"/>
              </a:defRPr>
            </a:lvl2pPr>
            <a:lvl3pPr marL="180000" lvl="2" indent="-18000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/>
              <a:defRPr sz="1400" b="0" kern="0">
                <a:solidFill>
                  <a:srgbClr val="161F28"/>
                </a:solidFill>
                <a:latin typeface="+mn-lt"/>
              </a:defRPr>
            </a:lvl3pPr>
            <a:lvl4pPr marL="177800" lvl="3" indent="0" defTabSz="664605" eaLnBrk="1" hangingPunct="1">
              <a:spcBef>
                <a:spcPts val="300"/>
              </a:spcBef>
              <a:spcAft>
                <a:spcPts val="0"/>
              </a:spcAft>
              <a:buFontTx/>
              <a:buNone/>
              <a:tabLst/>
              <a:defRPr sz="1400" b="0" kern="0">
                <a:solidFill>
                  <a:srgbClr val="161F28"/>
                </a:solidFill>
                <a:latin typeface="+mn-lt"/>
              </a:defRPr>
            </a:lvl4pPr>
            <a:lvl5pPr marL="361950" lvl="4" indent="-184150" defTabSz="664605" eaLnBrk="1" hangingPunct="1">
              <a:spcBef>
                <a:spcPts val="600"/>
              </a:spcBef>
              <a:spcAft>
                <a:spcPts val="0"/>
              </a:spcAft>
              <a:buSzPct val="100000"/>
              <a:buFont typeface="Symbol" pitchFamily="2" charset="2"/>
              <a:buChar char="-"/>
              <a:tabLst/>
              <a:defRPr sz="1400" b="0" baseline="0">
                <a:solidFill>
                  <a:srgbClr val="161F28"/>
                </a:solidFill>
                <a:latin typeface="+mn-lt"/>
              </a:defRPr>
            </a:lvl5pPr>
            <a:lvl6pPr marL="900000" indent="-180000" defTabSz="664605" fontAlgn="base">
              <a:spcBef>
                <a:spcPts val="600"/>
              </a:spcBef>
              <a:spcAft>
                <a:spcPts val="0"/>
              </a:spcAft>
              <a:buSzPct val="100000"/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  <a:lvl7pPr marL="2916080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7pPr>
            <a:lvl8pPr marL="3505022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8pPr>
            <a:lvl9pPr marL="4093964" indent="9478284" defTabSz="664605" fontAlgn="base">
              <a:spcBef>
                <a:spcPts val="0"/>
              </a:spcBef>
              <a:spcAft>
                <a:spcPts val="1030"/>
              </a:spcAft>
              <a:buSzPct val="60000"/>
              <a:buFont typeface="Wingdings" pitchFamily="2" charset="2"/>
              <a:buChar char="n"/>
              <a:defRPr sz="1746">
                <a:latin typeface="+mn-lt"/>
              </a:defRPr>
            </a:lvl9pPr>
          </a:lstStyle>
          <a:p>
            <a:r>
              <a:rPr lang="en-US" dirty="0"/>
              <a:t>Selected References</a:t>
            </a:r>
            <a:endParaRPr lang="en-US" kern="1200" dirty="0">
              <a:solidFill>
                <a:srgbClr val="464646"/>
              </a:solidFill>
              <a:latin typeface="Arial" panose="020B0604020202020204" pitchFamily="34" charset="0"/>
            </a:endParaRPr>
          </a:p>
          <a:p>
            <a:pPr marL="199379" marR="0" lvl="1" indent="-199379" algn="l" defTabSz="664273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206764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ster Thesis, CANADA</a:t>
            </a:r>
          </a:p>
          <a:p>
            <a:pPr marL="178413" lvl="2" indent="0" defTabSz="664273">
              <a:buSzTx/>
              <a:buNone/>
              <a:tabLst>
                <a:tab pos="206764" algn="l"/>
              </a:tabLst>
              <a:defRPr/>
            </a:pPr>
            <a:r>
              <a:rPr lang="en-US" dirty="0">
                <a:solidFill>
                  <a:schemeClr val="tx1"/>
                </a:solidFill>
              </a:rPr>
              <a:t>Classified transmembrane transport proteins using Profile HMM and SDS (protein feature).  Build a classification pipeline which integrates the steps of data pre-processing, model building and model evaluation. Achieved high accuracy on benchmark dataset using leave-one-out cross-validation (0.71, which is the highest one in state of the art).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99379" marR="0" lvl="1" indent="-199379" algn="l" defTabSz="664273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206764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I, CANADA</a:t>
            </a:r>
          </a:p>
          <a:p>
            <a:pPr marL="178413" lvl="2" indent="0" defTabSz="664273">
              <a:buSzTx/>
              <a:buNone/>
              <a:tabLst>
                <a:tab pos="206764" algn="l"/>
              </a:tabLst>
              <a:defRPr/>
            </a:pPr>
            <a:r>
              <a:rPr lang="en-US" dirty="0"/>
              <a:t>Warehouse design app. Responsibilities involve frontend development </a:t>
            </a:r>
            <a:r>
              <a:rPr lang="en-US" altLang="zh-CN" dirty="0"/>
              <a:t>by</a:t>
            </a:r>
            <a:r>
              <a:rPr lang="en-US" dirty="0"/>
              <a:t> React.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lvl="2" defTabSz="664273">
              <a:tabLst>
                <a:tab pos="206764" algn="l"/>
              </a:tabLst>
              <a:defRPr/>
            </a:pPr>
            <a:r>
              <a:rPr lang="en-US" kern="1200" dirty="0">
                <a:solidFill>
                  <a:schemeClr val="tx1"/>
                </a:solidFill>
                <a:latin typeface="Arial" panose="020B0604020202020204" pitchFamily="34" charset="0"/>
              </a:rPr>
              <a:t>Eli Lilly, USA</a:t>
            </a:r>
          </a:p>
          <a:p>
            <a:pPr marL="181950" lvl="4" indent="0" defTabSz="664273">
              <a:buNone/>
              <a:tabLst>
                <a:tab pos="206764" algn="l"/>
              </a:tabLst>
              <a:defRPr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</a:rPr>
              <a:t>Warehouse inventory forecast </a:t>
            </a:r>
            <a:r>
              <a:rPr lang="en-US" altLang="zh-CN" dirty="0">
                <a:solidFill>
                  <a:schemeClr val="tx1"/>
                </a:solidFill>
                <a:latin typeface="Arial" panose="020B0604020202020204" pitchFamily="34" charset="0"/>
              </a:rPr>
              <a:t>app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</a:rPr>
              <a:t>. Manage a large volume of uploaded files, validate data, generate reports, and perform calculations.</a:t>
            </a:r>
          </a:p>
          <a:p>
            <a:pPr lvl="2" defTabSz="664273">
              <a:tabLst>
                <a:tab pos="206764" algn="l"/>
              </a:tabLst>
              <a:defRPr/>
            </a:pPr>
            <a:r>
              <a:rPr lang="en-US" kern="1200" dirty="0">
                <a:latin typeface="Arial" panose="020B0604020202020204" pitchFamily="34" charset="0"/>
              </a:rPr>
              <a:t>MATER, USA</a:t>
            </a:r>
          </a:p>
          <a:p>
            <a:pPr marL="178413" lvl="2" indent="0" defTabSz="664273">
              <a:buSzTx/>
              <a:buNone/>
              <a:tabLst>
                <a:tab pos="206764" algn="l"/>
              </a:tabLst>
              <a:defRPr/>
            </a:pPr>
            <a:r>
              <a:rPr kumimoji="0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ource and projec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anagement system. Complex personnel role categorization, combined with Azure single sign-on. Technical leader for full-s</a:t>
            </a:r>
            <a:r>
              <a:rPr kumimoji="0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ck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velopment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lvl="2" indent="0" defTabSz="664273">
              <a:buNone/>
              <a:tabLst>
                <a:tab pos="206764" algn="l"/>
              </a:tabLst>
              <a:defRPr/>
            </a:pPr>
            <a:endParaRPr lang="en-US" kern="1200" dirty="0">
              <a:latin typeface="Arial" panose="020B0604020202020204" pitchFamily="34" charset="0"/>
            </a:endParaRPr>
          </a:p>
        </p:txBody>
      </p:sp>
      <p:pic>
        <p:nvPicPr>
          <p:cNvPr id="9" name="Picture 8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437FE98B-409C-5D45-4CDE-D0D8689A021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5666" t="231" r="24801"/>
          <a:stretch/>
        </p:blipFill>
        <p:spPr>
          <a:xfrm>
            <a:off x="-2746" y="474040"/>
            <a:ext cx="2406236" cy="201622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3FC1AF-DCD6-EE3E-BBF7-AEEE8C22ED1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Miebach Consulting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78473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1"/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NGUAGE" val="msoLanguageIDEnglishUS"/>
  <p:tag name="EASYCOUNT" val=";98.;99.;100.;101."/>
  <p:tag name="EASYCHANGED" val="23_10_11-19:24:2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RW;TFLS"/>
  <p:tag name="EASYCOUNT" val=";98.;99.;100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RW;TFLS"/>
  <p:tag name="EASYCOUNT" val=";101."/>
</p:tagLst>
</file>

<file path=ppt/theme/theme1.xml><?xml version="1.0" encoding="utf-8"?>
<a:theme xmlns:a="http://schemas.openxmlformats.org/drawingml/2006/main" name="MC (V23.1)">
  <a:themeElements>
    <a:clrScheme name="Miebach_2023">
      <a:dk1>
        <a:srgbClr val="161F28"/>
      </a:dk1>
      <a:lt1>
        <a:srgbClr val="FFFFFF"/>
      </a:lt1>
      <a:dk2>
        <a:srgbClr val="007B80"/>
      </a:dk2>
      <a:lt2>
        <a:srgbClr val="CDD2D1"/>
      </a:lt2>
      <a:accent1>
        <a:srgbClr val="00AEA5"/>
      </a:accent1>
      <a:accent2>
        <a:srgbClr val="20515F"/>
      </a:accent2>
      <a:accent3>
        <a:srgbClr val="58878F"/>
      </a:accent3>
      <a:accent4>
        <a:srgbClr val="6EBBBF"/>
      </a:accent4>
      <a:accent5>
        <a:srgbClr val="DD4425"/>
      </a:accent5>
      <a:accent6>
        <a:srgbClr val="00E1B6"/>
      </a:accent6>
      <a:hlink>
        <a:srgbClr val="00AEA5"/>
      </a:hlink>
      <a:folHlink>
        <a:srgbClr val="00AEA5"/>
      </a:folHlink>
    </a:clrScheme>
    <a:fontScheme name="Miebach 20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mpd="sng">
          <a:noFill/>
          <a:prstDash val="solid"/>
        </a:ln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ctr" defTabSz="1012825" rtl="0" eaLnBrk="1" fontAlgn="base" latinLnBrk="0" hangingPunct="1">
          <a:lnSpc>
            <a:spcPct val="100000"/>
          </a:lnSpc>
          <a:spcBef>
            <a:spcPts val="60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 xmlns:p="http://schemas.openxmlformats.org/presentationml/2006/main">
              <a:solidFill>
                <a:schemeClr val="accent1"/>
              </a:solidFill>
            </a14:hiddenFill>
          </a:ext>
          <a:ext uri="{AF507438-7753-43e0-B8FC-AC1667EBCBE1}">
            <a14:hiddenEffects xmlns="" xmlns:a14="http://schemas.microsoft.com/office/drawing/2010/main" xmlns:p="http://schemas.openxmlformats.org/presentationml/2006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Bef>
            <a:spcPts val="600"/>
          </a:spcBef>
          <a:spcAft>
            <a:spcPts val="0"/>
          </a:spcAft>
          <a:defRPr sz="1600" b="0" i="0" u="none" strike="noStrike" dirty="0" err="1" smtClean="0">
            <a:solidFill>
              <a:srgbClr val="161F28"/>
            </a:solidFill>
            <a:latin typeface="+mn-lt"/>
          </a:defRPr>
        </a:defPPr>
      </a:lstStyle>
    </a:txDef>
  </a:objectDefaults>
  <a:extraClrSchemeLst>
    <a:extraClrScheme>
      <a:clrScheme name="MC_PPT_Template_ger 1">
        <a:dk1>
          <a:srgbClr val="000000"/>
        </a:dk1>
        <a:lt1>
          <a:srgbClr val="FFFFFF"/>
        </a:lt1>
        <a:dk2>
          <a:srgbClr val="004696"/>
        </a:dk2>
        <a:lt2>
          <a:srgbClr val="E6E6E6"/>
        </a:lt2>
        <a:accent1>
          <a:srgbClr val="B4C6E1"/>
        </a:accent1>
        <a:accent2>
          <a:srgbClr val="F5961E"/>
        </a:accent2>
        <a:accent3>
          <a:srgbClr val="FFFFFF"/>
        </a:accent3>
        <a:accent4>
          <a:srgbClr val="000000"/>
        </a:accent4>
        <a:accent5>
          <a:srgbClr val="D6DFEE"/>
        </a:accent5>
        <a:accent6>
          <a:srgbClr val="DE871A"/>
        </a:accent6>
        <a:hlink>
          <a:srgbClr val="B91487"/>
        </a:hlink>
        <a:folHlink>
          <a:srgbClr val="AA6C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r:022 g:031 b:040">
      <a:srgbClr val="161F28"/>
    </a:custClr>
    <a:custClr name="r:000 g:174 b:165">
      <a:srgbClr val="00AEA5"/>
    </a:custClr>
    <a:custClr name="r:032 g:081 b:095">
      <a:srgbClr val="20515F"/>
    </a:custClr>
    <a:custClr name="r:088 g:135 b:143">
      <a:srgbClr val="58878F"/>
    </a:custClr>
    <a:custClr name="r:110 g:187 b:191">
      <a:srgbClr val="6EBBBF"/>
    </a:custClr>
    <a:custClr name="r:128 g:198 b:175">
      <a:srgbClr val="80C6AF"/>
    </a:custClr>
    <a:custClr name="r:000 g:123 b:128">
      <a:srgbClr val="007B80"/>
    </a:custClr>
    <a:custClr name="r:104 g:171 b:169">
      <a:srgbClr val="68ABA9"/>
    </a:custClr>
    <a:custClr name="r:000 g:201 b:204">
      <a:srgbClr val="00C9CC"/>
    </a:custClr>
    <a:custClr name="r:221 g:068 b:037">
      <a:srgbClr val="DD4425"/>
    </a:custClr>
    <a:custClr name="r:205 g:210 b:209">
      <a:srgbClr val="CDD2D1"/>
    </a:custClr>
    <a:custClr name="r:064 g:194 b:187">
      <a:srgbClr val="40C2BB"/>
    </a:custClr>
    <a:custClr name="r:088 g:124 b:135">
      <a:srgbClr val="587C87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142 g:192 b:190">
      <a:srgbClr val="8EC0BE"/>
    </a:custClr>
    <a:custClr name="r:064 g:214 b:217">
      <a:srgbClr val="40D6D9"/>
    </a:custClr>
    <a:custClr name="r:255 g:060 b:000">
      <a:srgbClr val="FF3C00"/>
    </a:custClr>
    <a:custClr name="r:220 g:228 b:226">
      <a:srgbClr val="DCE4E2"/>
    </a:custClr>
    <a:custClr name="r:128 g:214 b:210">
      <a:srgbClr val="80D6D2"/>
    </a:custClr>
    <a:custClr name="r:144 g:168 b:175">
      <a:srgbClr val="90A8A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180 g:213 b:212">
      <a:srgbClr val="B4D5D4"/>
    </a:custClr>
    <a:custClr name="r:128 g:228 b:229">
      <a:srgbClr val="80E4E5"/>
    </a:custClr>
    <a:custClr name="r:000 g:225 b:182">
      <a:srgbClr val="00E1B6"/>
    </a:custClr>
    <a:custClr name="r:255 g:255 b:255">
      <a:srgbClr val="FFFFFF"/>
    </a:custClr>
    <a:custClr name="r:191 g:235 b:233">
      <a:srgbClr val="BFEBE9"/>
    </a:custClr>
    <a:custClr name="r:199 g:211 b:215">
      <a:srgbClr val="C7D3D7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17 g:234 b:234">
      <a:srgbClr val="D9EAEA"/>
    </a:custClr>
    <a:custClr name="r:191 g:241 b:242">
      <a:srgbClr val="BFF1F2"/>
    </a:custClr>
    <a:custClr name="r:111 g:252 b:238">
      <a:srgbClr val="6FFCEE"/>
    </a:custClr>
  </a:custClrLst>
</a:theme>
</file>

<file path=ppt/theme/theme2.xml><?xml version="1.0" encoding="utf-8"?>
<a:theme xmlns:a="http://schemas.openxmlformats.org/drawingml/2006/main" name="Larissa">
  <a:themeElements>
    <a:clrScheme name="Miebach_2023">
      <a:dk1>
        <a:srgbClr val="161F28"/>
      </a:dk1>
      <a:lt1>
        <a:srgbClr val="FFFFFF"/>
      </a:lt1>
      <a:dk2>
        <a:srgbClr val="007B80"/>
      </a:dk2>
      <a:lt2>
        <a:srgbClr val="CDD2D1"/>
      </a:lt2>
      <a:accent1>
        <a:srgbClr val="00AEA5"/>
      </a:accent1>
      <a:accent2>
        <a:srgbClr val="20515F"/>
      </a:accent2>
      <a:accent3>
        <a:srgbClr val="58878F"/>
      </a:accent3>
      <a:accent4>
        <a:srgbClr val="6EBBBF"/>
      </a:accent4>
      <a:accent5>
        <a:srgbClr val="DD4425"/>
      </a:accent5>
      <a:accent6>
        <a:srgbClr val="00E1B6"/>
      </a:accent6>
      <a:hlink>
        <a:srgbClr val="00AEA5"/>
      </a:hlink>
      <a:folHlink>
        <a:srgbClr val="00AE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iebach_2023">
      <a:dk1>
        <a:srgbClr val="161F28"/>
      </a:dk1>
      <a:lt1>
        <a:srgbClr val="FFFFFF"/>
      </a:lt1>
      <a:dk2>
        <a:srgbClr val="007B80"/>
      </a:dk2>
      <a:lt2>
        <a:srgbClr val="CDD2D1"/>
      </a:lt2>
      <a:accent1>
        <a:srgbClr val="00AEA5"/>
      </a:accent1>
      <a:accent2>
        <a:srgbClr val="20515F"/>
      </a:accent2>
      <a:accent3>
        <a:srgbClr val="58878F"/>
      </a:accent3>
      <a:accent4>
        <a:srgbClr val="6EBBBF"/>
      </a:accent4>
      <a:accent5>
        <a:srgbClr val="DD4425"/>
      </a:accent5>
      <a:accent6>
        <a:srgbClr val="00E1B6"/>
      </a:accent6>
      <a:hlink>
        <a:srgbClr val="00AEA5"/>
      </a:hlink>
      <a:folHlink>
        <a:srgbClr val="00AEA5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A48DD00941B104B91E6BAA909086938" ma:contentTypeVersion="16" ma:contentTypeDescription="Ein neues Dokument erstellen." ma:contentTypeScope="" ma:versionID="9a6b51caae9e485a16061d77e163ed96">
  <xsd:schema xmlns:xsd="http://www.w3.org/2001/XMLSchema" xmlns:xs="http://www.w3.org/2001/XMLSchema" xmlns:p="http://schemas.microsoft.com/office/2006/metadata/properties" xmlns:ns2="54d3cfd7-72c5-423d-8f81-077717531073" xmlns:ns3="1a41ff8f-11d9-49dd-af26-4f814aef25b6" targetNamespace="http://schemas.microsoft.com/office/2006/metadata/properties" ma:root="true" ma:fieldsID="0195b371fb732de71d322c957b41e7ea" ns2:_="" ns3:_="">
    <xsd:import namespace="54d3cfd7-72c5-423d-8f81-077717531073"/>
    <xsd:import namespace="1a41ff8f-11d9-49dd-af26-4f814aef25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d3cfd7-72c5-423d-8f81-0777175310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daeb11b2-7745-4f90-9639-34ee90170ea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1ff8f-11d9-49dd-af26-4f814aef25b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b7ede37-3fb0-4c7b-aa61-7ac9c8b77ec0}" ma:internalName="TaxCatchAll" ma:showField="CatchAllData" ma:web="1a41ff8f-11d9-49dd-af26-4f814aef25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4d3cfd7-72c5-423d-8f81-077717531073">
      <Terms xmlns="http://schemas.microsoft.com/office/infopath/2007/PartnerControls"/>
    </lcf76f155ced4ddcb4097134ff3c332f>
    <TaxCatchAll xmlns="1a41ff8f-11d9-49dd-af26-4f814aef25b6" xsi:nil="true"/>
  </documentManagement>
</p:properties>
</file>

<file path=customXml/itemProps1.xml><?xml version="1.0" encoding="utf-8"?>
<ds:datastoreItem xmlns:ds="http://schemas.openxmlformats.org/officeDocument/2006/customXml" ds:itemID="{20BD6BB3-83D7-4E89-A508-7D49E6087A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d3cfd7-72c5-423d-8f81-077717531073"/>
    <ds:schemaRef ds:uri="1a41ff8f-11d9-49dd-af26-4f814aef25b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F68E05-A69C-4221-B0FB-9BF0300FA3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CF77CF-F106-449A-BAD4-25DD959C1007}">
  <ds:schemaRefs>
    <ds:schemaRef ds:uri="e90d4d6c-8f4d-45d1-b394-2ddb9554bfd0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purl.org/dc/elements/1.1/"/>
    <ds:schemaRef ds:uri="54d3cfd7-72c5-423d-8f81-077717531073"/>
    <ds:schemaRef ds:uri="1a41ff8f-11d9-49dd-af26-4f814aef25b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</TotalTime>
  <Words>272</Words>
  <Application>Microsoft Office PowerPoint</Application>
  <PresentationFormat>Widescreen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Georgia</vt:lpstr>
      <vt:lpstr>Symbol</vt:lpstr>
      <vt:lpstr>Wingdings</vt:lpstr>
      <vt:lpstr>MC (V23.1)</vt:lpstr>
      <vt:lpstr>think-cell Slide</vt:lpstr>
      <vt:lpstr>Qing YE Analyst, Montré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hias Paul</dc:creator>
  <cp:lastModifiedBy>Ye, Qing</cp:lastModifiedBy>
  <cp:revision>1588</cp:revision>
  <cp:lastPrinted>2019-01-04T15:15:45Z</cp:lastPrinted>
  <dcterms:created xsi:type="dcterms:W3CDTF">2017-05-30T09:05:02Z</dcterms:created>
  <dcterms:modified xsi:type="dcterms:W3CDTF">2024-01-29T22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8DD00941B104B91E6BAA909086938</vt:lpwstr>
  </property>
  <property fmtid="{D5CDD505-2E9C-101B-9397-08002B2CF9AE}" pid="3" name="Order">
    <vt:r8>864200</vt:r8>
  </property>
  <property fmtid="{D5CDD505-2E9C-101B-9397-08002B2CF9AE}" pid="4" name="MediaServiceImageTags">
    <vt:lpwstr/>
  </property>
</Properties>
</file>